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9"/>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9E394A6C-2D2E-48FF-9AF7-4CFDDB3077F8}">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notesMaster" Target="notesMasters/notesMaster1.xml"/><Relationship Id="rId60" Type="http://schemas.openxmlformats.org/officeDocument/2006/relationships/presProps" Target="presProps.xml"/><Relationship Id="rId61" Type="http://schemas.openxmlformats.org/officeDocument/2006/relationships/viewProps" Target="viewProps.xml"/><Relationship Id="rId62" Type="http://schemas.openxmlformats.org/officeDocument/2006/relationships/theme" Target="theme/theme1.xml"/><Relationship Id="rId63" Type="http://schemas.openxmlformats.org/officeDocument/2006/relationships/tableStyles" Target="tableStyles.xml"/><Relationship Id="rId64" Type="http://schemas.microsoft.com/office/2015/10/relationships/revisionInfo" Target="revisionInfo.xml"/><Relationship Id="rId65"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9944876440793532</c:v>
                </c:pt>
                <c:pt idx="5">
                  <c:v>0.002441524269792252</c:v>
                </c:pt>
                <c:pt idx="8">
                  <c:v>0.009070736088440655</c:v>
                </c:pt>
                <c:pt idx="9">
                  <c:v>0.0066779656103044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6060293469893772</c:v>
                </c:pt>
                <c:pt idx="4">
                  <c:v>0.006767117445120051</c:v>
                </c:pt>
                <c:pt idx="5">
                  <c:v>0.0329103040212457</c:v>
                </c:pt>
                <c:pt idx="6">
                  <c:v>0.005739190773981614</c:v>
                </c:pt>
                <c:pt idx="7">
                  <c:v>0.08068075949911196</c:v>
                </c:pt>
                <c:pt idx="8">
                  <c:v>0.007387633137112374</c:v>
                </c:pt>
                <c:pt idx="9">
                  <c:v>0.00870546691474732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011448395726764745</c:v>
                </c:pt>
                <c:pt idx="10">
                  <c:v>0.0009528508141660599</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1061428902955416</c:v>
                </c:pt>
                <c:pt idx="3">
                  <c:v>0.009976741179113511</c:v>
                </c:pt>
                <c:pt idx="4">
                  <c:v>0.013412423288703354</c:v>
                </c:pt>
                <c:pt idx="5">
                  <c:v>0.0057758071320460815</c:v>
                </c:pt>
                <c:pt idx="6">
                  <c:v>0.023300029858616653</c:v>
                </c:pt>
                <c:pt idx="7">
                  <c:v>0.06307865711540746</c:v>
                </c:pt>
                <c:pt idx="8">
                  <c:v>0.049129873216025834</c:v>
                </c:pt>
                <c:pt idx="9">
                  <c:v>0.032986249109270054</c:v>
                </c:pt>
                <c:pt idx="10">
                  <c:v>0.0543209979111688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218282918329833</c:v>
                </c:pt>
                <c:pt idx="1">
                  <c:v>0.005250572943842559</c:v>
                </c:pt>
                <c:pt idx="2">
                  <c:v>0.00673595365684046</c:v>
                </c:pt>
                <c:pt idx="3">
                  <c:v>0.040906064982812414</c:v>
                </c:pt>
                <c:pt idx="4">
                  <c:v>0.010250143496001179</c:v>
                </c:pt>
                <c:pt idx="5">
                  <c:v>0.022986128794972006</c:v>
                </c:pt>
                <c:pt idx="6">
                  <c:v>0.10689430476369623</c:v>
                </c:pt>
                <c:pt idx="7">
                  <c:v>0.04885479868940098</c:v>
                </c:pt>
                <c:pt idx="8">
                  <c:v>0.011554750651134886</c:v>
                </c:pt>
                <c:pt idx="10">
                  <c:v>0.003613438534671493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4849123352658089</c:v>
                </c:pt>
                <c:pt idx="4">
                  <c:v>0.010927593821897896</c:v>
                </c:pt>
                <c:pt idx="5">
                  <c:v>0.01984584081289428</c:v>
                </c:pt>
                <c:pt idx="6">
                  <c:v>0.006044282922940998</c:v>
                </c:pt>
                <c:pt idx="7">
                  <c:v>0.022248111880424762</c:v>
                </c:pt>
                <c:pt idx="8">
                  <c:v>0.07810410425196825</c:v>
                </c:pt>
                <c:pt idx="9">
                  <c:v>0.02323446386636993</c:v>
                </c:pt>
                <c:pt idx="10">
                  <c:v>0.01140040648742115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373416783754474</c:v>
                </c:pt>
                <c:pt idx="1">
                  <c:v>0.03204776445831363</c:v>
                </c:pt>
                <c:pt idx="2">
                  <c:v>0.008405359593863451</c:v>
                </c:pt>
                <c:pt idx="3">
                  <c:v>0.0954400099261946</c:v>
                </c:pt>
                <c:pt idx="4">
                  <c:v>0.029240642403088886</c:v>
                </c:pt>
                <c:pt idx="5">
                  <c:v>0.19941916020036943</c:v>
                </c:pt>
                <c:pt idx="6">
                  <c:v>0.04125013737428249</c:v>
                </c:pt>
                <c:pt idx="7">
                  <c:v>0.09823377550427922</c:v>
                </c:pt>
                <c:pt idx="8">
                  <c:v>0.325267885482307</c:v>
                </c:pt>
                <c:pt idx="9">
                  <c:v>0.11967348660579877</c:v>
                </c:pt>
                <c:pt idx="10">
                  <c:v>0.046418593159612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10400150779786381</c:v>
                </c:pt>
                <c:pt idx="7">
                  <c:v>0.0046197788596700935</c:v>
                </c:pt>
                <c:pt idx="8">
                  <c:v>0.024178972182512762</c:v>
                </c:pt>
                <c:pt idx="10">
                  <c:v>0.00393832026558400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4849123352658089</c:v>
                </c:pt>
                <c:pt idx="4">
                  <c:v>0.010927593821897896</c:v>
                </c:pt>
                <c:pt idx="5">
                  <c:v>0.01984584081289428</c:v>
                </c:pt>
                <c:pt idx="6">
                  <c:v>0.006044282922940998</c:v>
                </c:pt>
                <c:pt idx="7">
                  <c:v>0.022248111880424762</c:v>
                </c:pt>
                <c:pt idx="8">
                  <c:v>0.07810410425196825</c:v>
                </c:pt>
                <c:pt idx="9">
                  <c:v>0.02323446386636993</c:v>
                </c:pt>
                <c:pt idx="10">
                  <c:v>0.01140040648742115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4849123352658089</c:v>
                </c:pt>
                <c:pt idx="4">
                  <c:v>0.010927593821897896</c:v>
                </c:pt>
                <c:pt idx="5">
                  <c:v>0.01984584081289428</c:v>
                </c:pt>
                <c:pt idx="6">
                  <c:v>0.006044282922940998</c:v>
                </c:pt>
                <c:pt idx="7">
                  <c:v>0.022248111880424762</c:v>
                </c:pt>
                <c:pt idx="8">
                  <c:v>0.07810410425196825</c:v>
                </c:pt>
                <c:pt idx="9">
                  <c:v>0.02323446386636993</c:v>
                </c:pt>
                <c:pt idx="10">
                  <c:v>0.01140040648742115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4849123352658089</c:v>
                </c:pt>
                <c:pt idx="4">
                  <c:v>0.010927593821897896</c:v>
                </c:pt>
                <c:pt idx="5">
                  <c:v>0.01984584081289428</c:v>
                </c:pt>
                <c:pt idx="6">
                  <c:v>0.006044282922940998</c:v>
                </c:pt>
                <c:pt idx="7">
                  <c:v>0.022248111880424762</c:v>
                </c:pt>
                <c:pt idx="8">
                  <c:v>0.07810410425196825</c:v>
                </c:pt>
                <c:pt idx="9">
                  <c:v>0.02323446386636993</c:v>
                </c:pt>
                <c:pt idx="10">
                  <c:v>0.01140040648742115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7133835699403206</c:v>
                </c:pt>
                <c:pt idx="1">
                  <c:v>0.019618191826917</c:v>
                </c:pt>
                <c:pt idx="4">
                  <c:v>0.0007402755160323117</c:v>
                </c:pt>
                <c:pt idx="6">
                  <c:v>0.32972950609608237</c:v>
                </c:pt>
                <c:pt idx="7">
                  <c:v>0.6455594961322716</c:v>
                </c:pt>
                <c:pt idx="10">
                  <c:v>0.0036391468587563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7133835699403206</c:v>
                </c:pt>
                <c:pt idx="1">
                  <c:v>0.019618191826917</c:v>
                </c:pt>
                <c:pt idx="4">
                  <c:v>0.0007402755160323117</c:v>
                </c:pt>
                <c:pt idx="6">
                  <c:v>0.32972950609608237</c:v>
                </c:pt>
                <c:pt idx="7">
                  <c:v>0.6455594961322716</c:v>
                </c:pt>
                <c:pt idx="10">
                  <c:v>0.0036391468587563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7914751728301275</c:v>
                </c:pt>
                <c:pt idx="6">
                  <c:v>0.018221491435368168</c:v>
                </c:pt>
                <c:pt idx="8">
                  <c:v>0.024821357447577318</c:v>
                </c:pt>
                <c:pt idx="9">
                  <c:v>0.44318587347492583</c:v>
                </c:pt>
                <c:pt idx="10">
                  <c:v>0.03191924475174359</c:v>
                </c:pt>
                <c:pt idx="12">
                  <c:v>0.00171777100381233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6155373871998238</c:v>
                </c:pt>
                <c:pt idx="6">
                  <c:v>0.49944007839767784</c:v>
                </c:pt>
                <c:pt idx="8">
                  <c:v>0.031881979303787146</c:v>
                </c:pt>
                <c:pt idx="9">
                  <c:v>0.45125440925969906</c:v>
                </c:pt>
                <c:pt idx="10">
                  <c:v>0.00126627112771501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6155373871998238</c:v>
                </c:pt>
                <c:pt idx="6">
                  <c:v>0.49944007839767784</c:v>
                </c:pt>
                <c:pt idx="8">
                  <c:v>0.031881979303787146</c:v>
                </c:pt>
                <c:pt idx="9">
                  <c:v>0.45125440925969906</c:v>
                </c:pt>
                <c:pt idx="10">
                  <c:v>0.00126627112771501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960365324271645</c:v>
                </c:pt>
                <c:pt idx="1">
                  <c:v>0.036114911038373616</c:v>
                </c:pt>
                <c:pt idx="4">
                  <c:v>0.13704769360926553</c:v>
                </c:pt>
                <c:pt idx="5">
                  <c:v>0.0011162341815090673</c:v>
                </c:pt>
                <c:pt idx="6">
                  <c:v>0.26434531785433935</c:v>
                </c:pt>
                <c:pt idx="7">
                  <c:v>0.0033359109177129496</c:v>
                </c:pt>
                <c:pt idx="8">
                  <c:v>0.4005920055997594</c:v>
                </c:pt>
                <c:pt idx="9">
                  <c:v>0.1439714637218623</c:v>
                </c:pt>
                <c:pt idx="10">
                  <c:v>0.00086189692849985</c:v>
                </c:pt>
                <c:pt idx="11">
                  <c:v>0.00521920455530330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13117158676907078</c:v>
                </c:pt>
                <c:pt idx="3">
                  <c:v>0.02583176970894678</c:v>
                </c:pt>
                <c:pt idx="5">
                  <c:v>0.025461508011926873</c:v>
                </c:pt>
                <c:pt idx="7">
                  <c:v>0.0005901691832524719</c:v>
                </c:pt>
                <c:pt idx="8">
                  <c:v>0.04321027012297594</c:v>
                </c:pt>
                <c:pt idx="9">
                  <c:v>0.0240597877403313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968080919904252</c:v>
                </c:pt>
                <c:pt idx="5">
                  <c:v>0.004484730103724654</c:v>
                </c:pt>
                <c:pt idx="8">
                  <c:v>0.011262663151988258</c:v>
                </c:pt>
                <c:pt idx="9">
                  <c:v>0.00579390625015838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2433457038408526</c:v>
                </c:pt>
                <c:pt idx="4">
                  <c:v>0.011262131109334302</c:v>
                </c:pt>
                <c:pt idx="6">
                  <c:v>0.05107049616108883</c:v>
                </c:pt>
                <c:pt idx="8">
                  <c:v>0.09062959575206156</c:v>
                </c:pt>
                <c:pt idx="10">
                  <c:v>0.00970039118540454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005022569588427643</c:v>
                </c:pt>
                <c:pt idx="10">
                  <c:v>0.0008935256471865514</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19000943622853032</c:v>
                </c:pt>
                <c:pt idx="5">
                  <c:v>0.024738282958946596</c:v>
                </c:pt>
                <c:pt idx="7">
                  <c:v>0.0017443731277586357</c:v>
                </c:pt>
                <c:pt idx="8">
                  <c:v>0.08257725884833314</c:v>
                </c:pt>
                <c:pt idx="9">
                  <c:v>0.0006769234324741557</c:v>
                </c:pt>
                <c:pt idx="10">
                  <c:v>0.0841927229094021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052300142362965</c:v>
                </c:pt>
                <c:pt idx="1">
                  <c:v>0.019824604767028808</c:v>
                </c:pt>
                <c:pt idx="4">
                  <c:v>0.06420020130790098</c:v>
                </c:pt>
                <c:pt idx="5">
                  <c:v>0.12858780681650162</c:v>
                </c:pt>
                <c:pt idx="6">
                  <c:v>0.0010673871020310734</c:v>
                </c:pt>
                <c:pt idx="8">
                  <c:v>0.054955471620282366</c:v>
                </c:pt>
                <c:pt idx="10">
                  <c:v>0.00410466039163621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655369993354527</c:v>
                </c:pt>
                <c:pt idx="3">
                  <c:v>0.016739178139837593</c:v>
                </c:pt>
                <c:pt idx="5">
                  <c:v>0.03290669035761033</c:v>
                </c:pt>
                <c:pt idx="7">
                  <c:v>0.09769090758421362</c:v>
                </c:pt>
                <c:pt idx="8">
                  <c:v>0.000592499043240388</c:v>
                </c:pt>
                <c:pt idx="9">
                  <c:v>0.018502181453992142</c:v>
                </c:pt>
                <c:pt idx="12">
                  <c:v>0.00516927252609959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960365324271645</c:v>
                </c:pt>
                <c:pt idx="1">
                  <c:v>0.036114911038373616</c:v>
                </c:pt>
                <c:pt idx="4">
                  <c:v>0.13704769360926553</c:v>
                </c:pt>
                <c:pt idx="5">
                  <c:v>0.0011162341815090673</c:v>
                </c:pt>
                <c:pt idx="6">
                  <c:v>0.26434531785433935</c:v>
                </c:pt>
                <c:pt idx="7">
                  <c:v>0.0033359109177129496</c:v>
                </c:pt>
                <c:pt idx="8">
                  <c:v>0.4005920055997594</c:v>
                </c:pt>
                <c:pt idx="9">
                  <c:v>0.1439714637218623</c:v>
                </c:pt>
                <c:pt idx="10">
                  <c:v>0.00086189692849985</c:v>
                </c:pt>
                <c:pt idx="11">
                  <c:v>0.00521920455530330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15805335482651196</c:v>
                </c:pt>
                <c:pt idx="8">
                  <c:v>0.03152850167189275</c:v>
                </c:pt>
                <c:pt idx="9">
                  <c:v>0.00341172004109587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655369993354527</c:v>
                </c:pt>
                <c:pt idx="3">
                  <c:v>0.016739178139837593</c:v>
                </c:pt>
                <c:pt idx="5">
                  <c:v>0.03290669035761033</c:v>
                </c:pt>
                <c:pt idx="7">
                  <c:v>0.09769090758421362</c:v>
                </c:pt>
                <c:pt idx="8">
                  <c:v>0.000592499043240388</c:v>
                </c:pt>
                <c:pt idx="9">
                  <c:v>0.018502181453992142</c:v>
                </c:pt>
                <c:pt idx="12">
                  <c:v>0.00516927252609959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655369993354527</c:v>
                </c:pt>
                <c:pt idx="3">
                  <c:v>0.016739178139837593</c:v>
                </c:pt>
                <c:pt idx="5">
                  <c:v>0.03290669035761033</c:v>
                </c:pt>
                <c:pt idx="7">
                  <c:v>0.09769090758421362</c:v>
                </c:pt>
                <c:pt idx="8">
                  <c:v>0.000592499043240388</c:v>
                </c:pt>
                <c:pt idx="9">
                  <c:v>0.018502181453992142</c:v>
                </c:pt>
                <c:pt idx="12">
                  <c:v>0.00516927252609959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655369993354527</c:v>
                </c:pt>
                <c:pt idx="3">
                  <c:v>0.016739178139837593</c:v>
                </c:pt>
                <c:pt idx="5">
                  <c:v>0.03290669035761033</c:v>
                </c:pt>
                <c:pt idx="7">
                  <c:v>0.09769090758421362</c:v>
                </c:pt>
                <c:pt idx="8">
                  <c:v>0.000592499043240388</c:v>
                </c:pt>
                <c:pt idx="9">
                  <c:v>0.018502181453992142</c:v>
                </c:pt>
                <c:pt idx="12">
                  <c:v>0.00516927252609959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8809060429939978</c:v>
                </c:pt>
                <c:pt idx="1">
                  <c:v>0.04854904242544989</c:v>
                </c:pt>
                <c:pt idx="3">
                  <c:v>0.00824377547534882</c:v>
                </c:pt>
                <c:pt idx="4">
                  <c:v>0.0022353924353407596</c:v>
                </c:pt>
                <c:pt idx="5">
                  <c:v>0.47110126521021417</c:v>
                </c:pt>
                <c:pt idx="7">
                  <c:v>0.45221803035632874</c:v>
                </c:pt>
                <c:pt idx="9">
                  <c:v>0.015771588054323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7914751728301275</c:v>
                </c:pt>
                <c:pt idx="6">
                  <c:v>0.018221491435368168</c:v>
                </c:pt>
                <c:pt idx="8">
                  <c:v>0.024821357447577318</c:v>
                </c:pt>
                <c:pt idx="9">
                  <c:v>0.44318587347492583</c:v>
                </c:pt>
                <c:pt idx="10">
                  <c:v>0.03191924475174359</c:v>
                </c:pt>
                <c:pt idx="12">
                  <c:v>0.00171777100381233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8809060429939978</c:v>
                </c:pt>
                <c:pt idx="1">
                  <c:v>0.04854904242544989</c:v>
                </c:pt>
                <c:pt idx="3">
                  <c:v>0.00824377547534882</c:v>
                </c:pt>
                <c:pt idx="4">
                  <c:v>0.0022353924353407596</c:v>
                </c:pt>
                <c:pt idx="5">
                  <c:v>0.47110126521021417</c:v>
                </c:pt>
                <c:pt idx="7">
                  <c:v>0.45221803035632874</c:v>
                </c:pt>
                <c:pt idx="9">
                  <c:v>0.015771588054323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7914751728301275</c:v>
                </c:pt>
                <c:pt idx="6">
                  <c:v>0.018221491435368168</c:v>
                </c:pt>
                <c:pt idx="8">
                  <c:v>0.024821357447577318</c:v>
                </c:pt>
                <c:pt idx="9">
                  <c:v>0.44318587347492583</c:v>
                </c:pt>
                <c:pt idx="10">
                  <c:v>0.03191924475174359</c:v>
                </c:pt>
                <c:pt idx="12">
                  <c:v>0.00171777100381233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7914751728301275</c:v>
                </c:pt>
                <c:pt idx="6">
                  <c:v>0.018221491435368168</c:v>
                </c:pt>
                <c:pt idx="8">
                  <c:v>0.024821357447577318</c:v>
                </c:pt>
                <c:pt idx="9">
                  <c:v>0.44318587347492583</c:v>
                </c:pt>
                <c:pt idx="10">
                  <c:v>0.03191924475174359</c:v>
                </c:pt>
                <c:pt idx="12">
                  <c:v>0.00171777100381233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8554906966759345</c:v>
                </c:pt>
                <c:pt idx="1">
                  <c:v>0.028441740379247182</c:v>
                </c:pt>
                <c:pt idx="2">
                  <c:v>0.009761321362807114</c:v>
                </c:pt>
                <c:pt idx="3">
                  <c:v>0.09760051376392251</c:v>
                </c:pt>
                <c:pt idx="4">
                  <c:v>0.030379211598501585</c:v>
                </c:pt>
                <c:pt idx="5">
                  <c:v>0.2117089305351219</c:v>
                </c:pt>
                <c:pt idx="6">
                  <c:v>0.046255803376908426</c:v>
                </c:pt>
                <c:pt idx="7">
                  <c:v>0.09078708800262184</c:v>
                </c:pt>
                <c:pt idx="8">
                  <c:v>0.32083983687169554</c:v>
                </c:pt>
                <c:pt idx="9">
                  <c:v>0.11338747694483581</c:v>
                </c:pt>
                <c:pt idx="10">
                  <c:v>0.04521635337225678</c:v>
                </c:pt>
                <c:pt idx="11">
                  <c:v>0.000756581387852979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3345484122363226</c:v>
                </c:pt>
                <c:pt idx="2">
                  <c:v>0.011816098297296278</c:v>
                </c:pt>
                <c:pt idx="3">
                  <c:v>0.02157963082934196</c:v>
                </c:pt>
                <c:pt idx="4">
                  <c:v>0.006518595838358173</c:v>
                </c:pt>
                <c:pt idx="6">
                  <c:v>0.018364356282885276</c:v>
                </c:pt>
                <c:pt idx="7">
                  <c:v>0.03580008793101775</c:v>
                </c:pt>
                <c:pt idx="8">
                  <c:v>0.005128412768341157</c:v>
                </c:pt>
                <c:pt idx="9">
                  <c:v>0.0202950667345055</c:v>
                </c:pt>
                <c:pt idx="10">
                  <c:v>0.000816379134259157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11365939873101784</c:v>
                </c:pt>
                <c:pt idx="3">
                  <c:v>0.00672495241358043</c:v>
                </c:pt>
                <c:pt idx="5">
                  <c:v>0.004236687653741004</c:v>
                </c:pt>
                <c:pt idx="8">
                  <c:v>0.008253454852098161</c:v>
                </c:pt>
                <c:pt idx="9">
                  <c:v>0.001643880785394096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4563535271219697</c:v>
                </c:pt>
                <c:pt idx="4">
                  <c:v>0.006193192001547627</c:v>
                </c:pt>
                <c:pt idx="5">
                  <c:v>0.007396713151231947</c:v>
                </c:pt>
                <c:pt idx="6">
                  <c:v>0.03980787215580127</c:v>
                </c:pt>
                <c:pt idx="7">
                  <c:v>0.07417629568910623</c:v>
                </c:pt>
                <c:pt idx="8">
                  <c:v>0.008958013961945132</c:v>
                </c:pt>
                <c:pt idx="9">
                  <c:v>0.0006370178789493389</c:v>
                </c:pt>
                <c:pt idx="10">
                  <c:v>0.00881418547778728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7281634597190107</c:v>
                </c:pt>
                <c:pt idx="1">
                  <c:v>0.0010583702885681786</c:v>
                </c:pt>
                <c:pt idx="2">
                  <c:v>0.0008278998733223463</c:v>
                </c:pt>
                <c:pt idx="3">
                  <c:v>0.01423393606681213</c:v>
                </c:pt>
                <c:pt idx="4">
                  <c:v>0.00932671567732331</c:v>
                </c:pt>
                <c:pt idx="5">
                  <c:v>0.006528811543850185</c:v>
                </c:pt>
                <c:pt idx="6">
                  <c:v>0.020687679800231642</c:v>
                </c:pt>
                <c:pt idx="7">
                  <c:v>0.033762439731079376</c:v>
                </c:pt>
                <c:pt idx="8">
                  <c:v>0.05770096108521633</c:v>
                </c:pt>
                <c:pt idx="9">
                  <c:v>0.05831023697765184</c:v>
                </c:pt>
                <c:pt idx="10">
                  <c:v>0.03546045012863411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2558549065892</c:v>
                </c:pt>
                <c:pt idx="1">
                  <c:v>0.007357605389945055</c:v>
                </c:pt>
                <c:pt idx="2">
                  <c:v>0.010864759231145675</c:v>
                </c:pt>
                <c:pt idx="3">
                  <c:v>0.04570673291309584</c:v>
                </c:pt>
                <c:pt idx="4">
                  <c:v>0.012328658904069463</c:v>
                </c:pt>
                <c:pt idx="5">
                  <c:v>0.023016156105463374</c:v>
                </c:pt>
                <c:pt idx="6">
                  <c:v>0.10743489470807492</c:v>
                </c:pt>
                <c:pt idx="7">
                  <c:v>0.04480017672488028</c:v>
                </c:pt>
                <c:pt idx="8">
                  <c:v>0.010921949162797437</c:v>
                </c:pt>
                <c:pt idx="10">
                  <c:v>0.00262233499849543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2205148155128807</c:v>
                </c:pt>
                <c:pt idx="4">
                  <c:v>0.009706756589296888</c:v>
                </c:pt>
                <c:pt idx="5">
                  <c:v>0.02427562995010521</c:v>
                </c:pt>
                <c:pt idx="6">
                  <c:v>0.009044520074040469</c:v>
                </c:pt>
                <c:pt idx="7">
                  <c:v>0.025079115514853072</c:v>
                </c:pt>
                <c:pt idx="8">
                  <c:v>0.08214806127472997</c:v>
                </c:pt>
                <c:pt idx="9">
                  <c:v>0.020863756848689317</c:v>
                </c:pt>
                <c:pt idx="10">
                  <c:v>0.007871201869930844</c:v>
                </c:pt>
                <c:pt idx="12">
                  <c:v>0.00071384998485171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8554906966759345</c:v>
                </c:pt>
                <c:pt idx="1">
                  <c:v>0.028441740379247182</c:v>
                </c:pt>
                <c:pt idx="2">
                  <c:v>0.009761321362807114</c:v>
                </c:pt>
                <c:pt idx="3">
                  <c:v>0.09760051376392251</c:v>
                </c:pt>
                <c:pt idx="4">
                  <c:v>0.030379211598501585</c:v>
                </c:pt>
                <c:pt idx="5">
                  <c:v>0.2117089305351219</c:v>
                </c:pt>
                <c:pt idx="6">
                  <c:v>0.046255803376908426</c:v>
                </c:pt>
                <c:pt idx="7">
                  <c:v>0.09078708800262184</c:v>
                </c:pt>
                <c:pt idx="8">
                  <c:v>0.32083983687169554</c:v>
                </c:pt>
                <c:pt idx="9">
                  <c:v>0.11338747694483581</c:v>
                </c:pt>
                <c:pt idx="10">
                  <c:v>0.04521635337225678</c:v>
                </c:pt>
                <c:pt idx="11">
                  <c:v>0.000756581387852979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1138497638023591</c:v>
                </c:pt>
                <c:pt idx="7">
                  <c:v>0.00689183183589399</c:v>
                </c:pt>
                <c:pt idx="8">
                  <c:v>0.026214254166744982</c:v>
                </c:pt>
                <c:pt idx="10">
                  <c:v>0.002481895907706427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2205148155128807</c:v>
                </c:pt>
                <c:pt idx="4">
                  <c:v>0.009706756589296888</c:v>
                </c:pt>
                <c:pt idx="5">
                  <c:v>0.02427562995010521</c:v>
                </c:pt>
                <c:pt idx="6">
                  <c:v>0.009044520074040469</c:v>
                </c:pt>
                <c:pt idx="7">
                  <c:v>0.025079115514853072</c:v>
                </c:pt>
                <c:pt idx="8">
                  <c:v>0.08214806127472997</c:v>
                </c:pt>
                <c:pt idx="9">
                  <c:v>0.020863756848689317</c:v>
                </c:pt>
                <c:pt idx="10">
                  <c:v>0.007871201869930844</c:v>
                </c:pt>
                <c:pt idx="12">
                  <c:v>0.000713849984851711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8554906966759345</c:v>
                </c:pt>
                <c:pt idx="1">
                  <c:v>0.028441740379247182</c:v>
                </c:pt>
                <c:pt idx="2">
                  <c:v>0.009761321362807114</c:v>
                </c:pt>
                <c:pt idx="3">
                  <c:v>0.09760051376392251</c:v>
                </c:pt>
                <c:pt idx="4">
                  <c:v>0.030379211598501585</c:v>
                </c:pt>
                <c:pt idx="5">
                  <c:v>0.2117089305351219</c:v>
                </c:pt>
                <c:pt idx="6">
                  <c:v>0.046255803376908426</c:v>
                </c:pt>
                <c:pt idx="7">
                  <c:v>0.09078708800262184</c:v>
                </c:pt>
                <c:pt idx="8">
                  <c:v>0.32083983687169554</c:v>
                </c:pt>
                <c:pt idx="9">
                  <c:v>0.11338747694483581</c:v>
                </c:pt>
                <c:pt idx="10">
                  <c:v>0.04521635337225678</c:v>
                </c:pt>
                <c:pt idx="11">
                  <c:v>0.000756581387852979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2205148155128807</c:v>
                </c:pt>
                <c:pt idx="4">
                  <c:v>0.009706756589296888</c:v>
                </c:pt>
                <c:pt idx="5">
                  <c:v>0.02427562995010521</c:v>
                </c:pt>
                <c:pt idx="6">
                  <c:v>0.009044520074040469</c:v>
                </c:pt>
                <c:pt idx="7">
                  <c:v>0.025079115514853072</c:v>
                </c:pt>
                <c:pt idx="8">
                  <c:v>0.08214806127472997</c:v>
                </c:pt>
                <c:pt idx="9">
                  <c:v>0.020863756848689317</c:v>
                </c:pt>
                <c:pt idx="10">
                  <c:v>0.007871201869930844</c:v>
                </c:pt>
                <c:pt idx="12">
                  <c:v>0.000713849984851711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2205148155128807</c:v>
                </c:pt>
                <c:pt idx="4">
                  <c:v>0.009706756589296888</c:v>
                </c:pt>
                <c:pt idx="5">
                  <c:v>0.02427562995010521</c:v>
                </c:pt>
                <c:pt idx="6">
                  <c:v>0.009044520074040469</c:v>
                </c:pt>
                <c:pt idx="7">
                  <c:v>0.025079115514853072</c:v>
                </c:pt>
                <c:pt idx="8">
                  <c:v>0.08214806127472997</c:v>
                </c:pt>
                <c:pt idx="9">
                  <c:v>0.020863756848689317</c:v>
                </c:pt>
                <c:pt idx="10">
                  <c:v>0.007871201869930844</c:v>
                </c:pt>
                <c:pt idx="12">
                  <c:v>0.00071384998485171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3150243301704233</c:v>
                </c:pt>
                <c:pt idx="1">
                  <c:v>0.03196125829072428</c:v>
                </c:pt>
                <c:pt idx="3">
                  <c:v>0.002073048452954874</c:v>
                </c:pt>
                <c:pt idx="4">
                  <c:v>0.0023475277936841057</c:v>
                </c:pt>
                <c:pt idx="5">
                  <c:v>0.3816274858616097</c:v>
                </c:pt>
                <c:pt idx="7">
                  <c:v>0.5662985597683995</c:v>
                </c:pt>
                <c:pt idx="9">
                  <c:v>0.014377095502457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3345484122363226</c:v>
                </c:pt>
                <c:pt idx="2">
                  <c:v>0.011816098297296278</c:v>
                </c:pt>
                <c:pt idx="3">
                  <c:v>0.02157963082934196</c:v>
                </c:pt>
                <c:pt idx="4">
                  <c:v>0.006518595838358173</c:v>
                </c:pt>
                <c:pt idx="6">
                  <c:v>0.018364356282885276</c:v>
                </c:pt>
                <c:pt idx="7">
                  <c:v>0.03580008793101775</c:v>
                </c:pt>
                <c:pt idx="8">
                  <c:v>0.005128412768341157</c:v>
                </c:pt>
                <c:pt idx="9">
                  <c:v>0.0202950667345055</c:v>
                </c:pt>
                <c:pt idx="10">
                  <c:v>0.000816379134259157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3150243301704233</c:v>
                </c:pt>
                <c:pt idx="1">
                  <c:v>0.03196125829072428</c:v>
                </c:pt>
                <c:pt idx="3">
                  <c:v>0.002073048452954874</c:v>
                </c:pt>
                <c:pt idx="4">
                  <c:v>0.0023475277936841057</c:v>
                </c:pt>
                <c:pt idx="5">
                  <c:v>0.3816274858616097</c:v>
                </c:pt>
                <c:pt idx="7">
                  <c:v>0.5662985597683995</c:v>
                </c:pt>
                <c:pt idx="9">
                  <c:v>0.014377095502457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6382732248426071</c:v>
                </c:pt>
                <c:pt idx="6">
                  <c:v>0.0029900386807783577</c:v>
                </c:pt>
                <c:pt idx="7">
                  <c:v>0.010388925611609102</c:v>
                </c:pt>
                <c:pt idx="9">
                  <c:v>0.00483130748310387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4563535271219697</c:v>
                </c:pt>
                <c:pt idx="4">
                  <c:v>0.006193192001547627</c:v>
                </c:pt>
                <c:pt idx="5">
                  <c:v>0.007396713151231947</c:v>
                </c:pt>
                <c:pt idx="6">
                  <c:v>0.03980787215580127</c:v>
                </c:pt>
                <c:pt idx="7">
                  <c:v>0.07417629568910623</c:v>
                </c:pt>
                <c:pt idx="8">
                  <c:v>0.008958013961945132</c:v>
                </c:pt>
                <c:pt idx="9">
                  <c:v>0.0006370178789493389</c:v>
                </c:pt>
                <c:pt idx="10">
                  <c:v>0.00881418547778728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694532498537673</c:v>
                </c:pt>
                <c:pt idx="6">
                  <c:v>0.017951669769388317</c:v>
                </c:pt>
                <c:pt idx="8">
                  <c:v>0.019052357072915773</c:v>
                </c:pt>
                <c:pt idx="9">
                  <c:v>0.03406943844743591</c:v>
                </c:pt>
                <c:pt idx="10">
                  <c:v>0.4520035222614576</c:v>
                </c:pt>
                <c:pt idx="11">
                  <c:v>0.0074527147212684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006580831118990668</c:v>
                </c:pt>
                <c:pt idx="10">
                  <c:v>0.00065779165289991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694532498537673</c:v>
                </c:pt>
                <c:pt idx="6">
                  <c:v>0.017951669769388317</c:v>
                </c:pt>
                <c:pt idx="8">
                  <c:v>0.019052357072915773</c:v>
                </c:pt>
                <c:pt idx="9">
                  <c:v>0.03406943844743591</c:v>
                </c:pt>
                <c:pt idx="10">
                  <c:v>0.4520035222614576</c:v>
                </c:pt>
                <c:pt idx="11">
                  <c:v>0.0074527147212684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7281634597190107</c:v>
                </c:pt>
                <c:pt idx="1">
                  <c:v>0.0010583702885681786</c:v>
                </c:pt>
                <c:pt idx="2">
                  <c:v>0.0008278998733223463</c:v>
                </c:pt>
                <c:pt idx="3">
                  <c:v>0.01423393606681213</c:v>
                </c:pt>
                <c:pt idx="4">
                  <c:v>0.00932671567732331</c:v>
                </c:pt>
                <c:pt idx="5">
                  <c:v>0.006528811543850185</c:v>
                </c:pt>
                <c:pt idx="6">
                  <c:v>0.020687679800231642</c:v>
                </c:pt>
                <c:pt idx="7">
                  <c:v>0.033762439731079376</c:v>
                </c:pt>
                <c:pt idx="8">
                  <c:v>0.05770096108521633</c:v>
                </c:pt>
                <c:pt idx="9">
                  <c:v>0.05831023697765184</c:v>
                </c:pt>
                <c:pt idx="10">
                  <c:v>0.03546045012863411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373416783754474</c:v>
                </c:pt>
                <c:pt idx="1">
                  <c:v>0.03204776445831363</c:v>
                </c:pt>
                <c:pt idx="2">
                  <c:v>0.008405359593863451</c:v>
                </c:pt>
                <c:pt idx="3">
                  <c:v>0.0954400099261946</c:v>
                </c:pt>
                <c:pt idx="4">
                  <c:v>0.029240642403088886</c:v>
                </c:pt>
                <c:pt idx="5">
                  <c:v>0.19941916020036943</c:v>
                </c:pt>
                <c:pt idx="6">
                  <c:v>0.04125013737428249</c:v>
                </c:pt>
                <c:pt idx="7">
                  <c:v>0.09823377550427922</c:v>
                </c:pt>
                <c:pt idx="8">
                  <c:v>0.325267885482307</c:v>
                </c:pt>
                <c:pt idx="9">
                  <c:v>0.11967348660579877</c:v>
                </c:pt>
                <c:pt idx="10">
                  <c:v>0.046418593159612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1857112540059825</c:v>
                </c:pt>
                <c:pt idx="2">
                  <c:v>0.0029665530756587985</c:v>
                </c:pt>
                <c:pt idx="3">
                  <c:v>0.004164634375316107</c:v>
                </c:pt>
                <c:pt idx="4">
                  <c:v>0.02327368924263766</c:v>
                </c:pt>
                <c:pt idx="5">
                  <c:v>0.0007047277503417893</c:v>
                </c:pt>
                <c:pt idx="6">
                  <c:v>0.015428665665937917</c:v>
                </c:pt>
                <c:pt idx="7">
                  <c:v>0.0032936277599112814</c:v>
                </c:pt>
                <c:pt idx="8">
                  <c:v>0.030370593743905612</c:v>
                </c:pt>
                <c:pt idx="9">
                  <c:v>0.025860799113257123</c:v>
                </c:pt>
                <c:pt idx="10">
                  <c:v>0.001643000393724565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17543291482773286</c:v>
                </c:pt>
                <c:pt idx="3">
                  <c:v>0.008665182825658672</c:v>
                </c:pt>
                <c:pt idx="5">
                  <c:v>0.001076612885380411</c:v>
                </c:pt>
                <c:pt idx="8">
                  <c:v>0.010776193913363263</c:v>
                </c:pt>
                <c:pt idx="9">
                  <c:v>0.002279516032290979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6060293469893772</c:v>
                </c:pt>
                <c:pt idx="4">
                  <c:v>0.006767117445120051</c:v>
                </c:pt>
                <c:pt idx="5">
                  <c:v>0.0329103040212457</c:v>
                </c:pt>
                <c:pt idx="6">
                  <c:v>0.005739190773981614</c:v>
                </c:pt>
                <c:pt idx="7">
                  <c:v>0.08068075949911196</c:v>
                </c:pt>
                <c:pt idx="8">
                  <c:v>0.007387633137112374</c:v>
                </c:pt>
                <c:pt idx="9">
                  <c:v>0.00870546691474732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1061428902955416</c:v>
                </c:pt>
                <c:pt idx="3">
                  <c:v>0.009976741179113511</c:v>
                </c:pt>
                <c:pt idx="4">
                  <c:v>0.013412423288703354</c:v>
                </c:pt>
                <c:pt idx="5">
                  <c:v>0.0057758071320460815</c:v>
                </c:pt>
                <c:pt idx="6">
                  <c:v>0.023300029858616653</c:v>
                </c:pt>
                <c:pt idx="7">
                  <c:v>0.06307865711540746</c:v>
                </c:pt>
                <c:pt idx="8">
                  <c:v>0.049129873216025834</c:v>
                </c:pt>
                <c:pt idx="9">
                  <c:v>0.032986249109270054</c:v>
                </c:pt>
                <c:pt idx="10">
                  <c:v>0.0543209979111688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218282918329833</c:v>
                </c:pt>
                <c:pt idx="1">
                  <c:v>0.005250572943842559</c:v>
                </c:pt>
                <c:pt idx="2">
                  <c:v>0.00673595365684046</c:v>
                </c:pt>
                <c:pt idx="3">
                  <c:v>0.040906064982812414</c:v>
                </c:pt>
                <c:pt idx="4">
                  <c:v>0.010250143496001179</c:v>
                </c:pt>
                <c:pt idx="5">
                  <c:v>0.022986128794972006</c:v>
                </c:pt>
                <c:pt idx="6">
                  <c:v>0.10689430476369623</c:v>
                </c:pt>
                <c:pt idx="7">
                  <c:v>0.04885479868940098</c:v>
                </c:pt>
                <c:pt idx="8">
                  <c:v>0.011554750651134886</c:v>
                </c:pt>
                <c:pt idx="10">
                  <c:v>0.003613438534671493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4849123352658089</c:v>
                </c:pt>
                <c:pt idx="4">
                  <c:v>0.010927593821897896</c:v>
                </c:pt>
                <c:pt idx="5">
                  <c:v>0.01984584081289428</c:v>
                </c:pt>
                <c:pt idx="6">
                  <c:v>0.006044282922940998</c:v>
                </c:pt>
                <c:pt idx="7">
                  <c:v>0.022248111880424762</c:v>
                </c:pt>
                <c:pt idx="8">
                  <c:v>0.07810410425196825</c:v>
                </c:pt>
                <c:pt idx="9">
                  <c:v>0.02323446386636993</c:v>
                </c:pt>
                <c:pt idx="10">
                  <c:v>0.01140040648742115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373416783754474</c:v>
                </c:pt>
                <c:pt idx="1">
                  <c:v>0.03204776445831363</c:v>
                </c:pt>
                <c:pt idx="2">
                  <c:v>0.008405359593863451</c:v>
                </c:pt>
                <c:pt idx="3">
                  <c:v>0.0954400099261946</c:v>
                </c:pt>
                <c:pt idx="4">
                  <c:v>0.029240642403088886</c:v>
                </c:pt>
                <c:pt idx="5">
                  <c:v>0.19941916020036943</c:v>
                </c:pt>
                <c:pt idx="6">
                  <c:v>0.04125013737428249</c:v>
                </c:pt>
                <c:pt idx="7">
                  <c:v>0.09823377550427922</c:v>
                </c:pt>
                <c:pt idx="8">
                  <c:v>0.325267885482307</c:v>
                </c:pt>
                <c:pt idx="9">
                  <c:v>0.11967348660579877</c:v>
                </c:pt>
                <c:pt idx="10">
                  <c:v>0.046418593159612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10400150779786381</c:v>
                </c:pt>
                <c:pt idx="7">
                  <c:v>0.0046197788596700935</c:v>
                </c:pt>
                <c:pt idx="8">
                  <c:v>0.024178972182512762</c:v>
                </c:pt>
                <c:pt idx="10">
                  <c:v>0.00393832026558400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2558549065892</c:v>
                </c:pt>
                <c:pt idx="1">
                  <c:v>0.007357605389945055</c:v>
                </c:pt>
                <c:pt idx="2">
                  <c:v>0.010864759231145675</c:v>
                </c:pt>
                <c:pt idx="3">
                  <c:v>0.04570673291309584</c:v>
                </c:pt>
                <c:pt idx="4">
                  <c:v>0.012328658904069463</c:v>
                </c:pt>
                <c:pt idx="5">
                  <c:v>0.023016156105463374</c:v>
                </c:pt>
                <c:pt idx="6">
                  <c:v>0.10743489470807492</c:v>
                </c:pt>
                <c:pt idx="7">
                  <c:v>0.04480017672488028</c:v>
                </c:pt>
                <c:pt idx="8">
                  <c:v>0.010921949162797437</c:v>
                </c:pt>
                <c:pt idx="10">
                  <c:v>0.00262233499849543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4849123352658089</c:v>
                </c:pt>
                <c:pt idx="4">
                  <c:v>0.010927593821897896</c:v>
                </c:pt>
                <c:pt idx="5">
                  <c:v>0.01984584081289428</c:v>
                </c:pt>
                <c:pt idx="6">
                  <c:v>0.006044282922940998</c:v>
                </c:pt>
                <c:pt idx="7">
                  <c:v>0.022248111880424762</c:v>
                </c:pt>
                <c:pt idx="8">
                  <c:v>0.07810410425196825</c:v>
                </c:pt>
                <c:pt idx="9">
                  <c:v>0.02323446386636993</c:v>
                </c:pt>
                <c:pt idx="10">
                  <c:v>0.01140040648742115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4849123352658089</c:v>
                </c:pt>
                <c:pt idx="4">
                  <c:v>0.010927593821897896</c:v>
                </c:pt>
                <c:pt idx="5">
                  <c:v>0.01984584081289428</c:v>
                </c:pt>
                <c:pt idx="6">
                  <c:v>0.006044282922940998</c:v>
                </c:pt>
                <c:pt idx="7">
                  <c:v>0.022248111880424762</c:v>
                </c:pt>
                <c:pt idx="8">
                  <c:v>0.07810410425196825</c:v>
                </c:pt>
                <c:pt idx="9">
                  <c:v>0.02323446386636993</c:v>
                </c:pt>
                <c:pt idx="10">
                  <c:v>0.01140040648742115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4849123352658089</c:v>
                </c:pt>
                <c:pt idx="4">
                  <c:v>0.010927593821897896</c:v>
                </c:pt>
                <c:pt idx="5">
                  <c:v>0.01984584081289428</c:v>
                </c:pt>
                <c:pt idx="6">
                  <c:v>0.006044282922940998</c:v>
                </c:pt>
                <c:pt idx="7">
                  <c:v>0.022248111880424762</c:v>
                </c:pt>
                <c:pt idx="8">
                  <c:v>0.07810410425196825</c:v>
                </c:pt>
                <c:pt idx="9">
                  <c:v>0.02323446386636993</c:v>
                </c:pt>
                <c:pt idx="10">
                  <c:v>0.01140040648742115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7133835699403206</c:v>
                </c:pt>
                <c:pt idx="1">
                  <c:v>0.019618191826917</c:v>
                </c:pt>
                <c:pt idx="4">
                  <c:v>0.0007402755160323117</c:v>
                </c:pt>
                <c:pt idx="6">
                  <c:v>0.32972950609608237</c:v>
                </c:pt>
                <c:pt idx="7">
                  <c:v>0.6455594961322716</c:v>
                </c:pt>
                <c:pt idx="10">
                  <c:v>0.0036391468587563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2205148155128807</c:v>
                </c:pt>
                <c:pt idx="4">
                  <c:v>0.009706756589296888</c:v>
                </c:pt>
                <c:pt idx="5">
                  <c:v>0.02427562995010521</c:v>
                </c:pt>
                <c:pt idx="6">
                  <c:v>0.009044520074040469</c:v>
                </c:pt>
                <c:pt idx="7">
                  <c:v>0.025079115514853072</c:v>
                </c:pt>
                <c:pt idx="8">
                  <c:v>0.08214806127472997</c:v>
                </c:pt>
                <c:pt idx="9">
                  <c:v>0.020863756848689317</c:v>
                </c:pt>
                <c:pt idx="10">
                  <c:v>0.007871201869930844</c:v>
                </c:pt>
                <c:pt idx="12">
                  <c:v>0.00071384998485171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7133835699403206</c:v>
                </c:pt>
                <c:pt idx="1">
                  <c:v>0.019618191826917</c:v>
                </c:pt>
                <c:pt idx="4">
                  <c:v>0.0007402755160323117</c:v>
                </c:pt>
                <c:pt idx="6">
                  <c:v>0.32972950609608237</c:v>
                </c:pt>
                <c:pt idx="7">
                  <c:v>0.6455594961322716</c:v>
                </c:pt>
                <c:pt idx="10">
                  <c:v>0.0036391468587563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6155373871998238</c:v>
                </c:pt>
                <c:pt idx="6">
                  <c:v>0.49944007839767784</c:v>
                </c:pt>
                <c:pt idx="8">
                  <c:v>0.031881979303787146</c:v>
                </c:pt>
                <c:pt idx="9">
                  <c:v>0.45125440925969906</c:v>
                </c:pt>
                <c:pt idx="10">
                  <c:v>0.00126627112771501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6155373871998238</c:v>
                </c:pt>
                <c:pt idx="6">
                  <c:v>0.49944007839767784</c:v>
                </c:pt>
                <c:pt idx="8">
                  <c:v>0.031881979303787146</c:v>
                </c:pt>
                <c:pt idx="9">
                  <c:v>0.45125440925969906</c:v>
                </c:pt>
                <c:pt idx="10">
                  <c:v>0.00126627112771501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8554906966759345</c:v>
                </c:pt>
                <c:pt idx="1">
                  <c:v>0.028441740379247182</c:v>
                </c:pt>
                <c:pt idx="2">
                  <c:v>0.009761321362807114</c:v>
                </c:pt>
                <c:pt idx="3">
                  <c:v>0.09760051376392251</c:v>
                </c:pt>
                <c:pt idx="4">
                  <c:v>0.030379211598501585</c:v>
                </c:pt>
                <c:pt idx="5">
                  <c:v>0.2117089305351219</c:v>
                </c:pt>
                <c:pt idx="6">
                  <c:v>0.046255803376908426</c:v>
                </c:pt>
                <c:pt idx="7">
                  <c:v>0.09078708800262184</c:v>
                </c:pt>
                <c:pt idx="8">
                  <c:v>0.32083983687169554</c:v>
                </c:pt>
                <c:pt idx="9">
                  <c:v>0.11338747694483581</c:v>
                </c:pt>
                <c:pt idx="10">
                  <c:v>0.04521635337225678</c:v>
                </c:pt>
                <c:pt idx="11">
                  <c:v>0.000756581387852979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960365324271645</c:v>
                </c:pt>
                <c:pt idx="1">
                  <c:v>0.036114911038373616</c:v>
                </c:pt>
                <c:pt idx="4">
                  <c:v>0.13704769360926553</c:v>
                </c:pt>
                <c:pt idx="5">
                  <c:v>0.0011162341815090673</c:v>
                </c:pt>
                <c:pt idx="6">
                  <c:v>0.26434531785433935</c:v>
                </c:pt>
                <c:pt idx="7">
                  <c:v>0.0033359109177129496</c:v>
                </c:pt>
                <c:pt idx="8">
                  <c:v>0.4005920055997594</c:v>
                </c:pt>
                <c:pt idx="9">
                  <c:v>0.1439714637218623</c:v>
                </c:pt>
                <c:pt idx="10">
                  <c:v>0.00086189692849985</c:v>
                </c:pt>
                <c:pt idx="11">
                  <c:v>0.00521920455530330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13117158676907078</c:v>
                </c:pt>
                <c:pt idx="3">
                  <c:v>0.02583176970894678</c:v>
                </c:pt>
                <c:pt idx="5">
                  <c:v>0.025461508011926873</c:v>
                </c:pt>
                <c:pt idx="7">
                  <c:v>0.0005901691832524719</c:v>
                </c:pt>
                <c:pt idx="8">
                  <c:v>0.04321027012297594</c:v>
                </c:pt>
                <c:pt idx="9">
                  <c:v>0.0240597877403313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13117158676907078</c:v>
                </c:pt>
                <c:pt idx="3">
                  <c:v>0.008544938853233212</c:v>
                </c:pt>
                <c:pt idx="5">
                  <c:v>0.0036803737621203944</c:v>
                </c:pt>
                <c:pt idx="8">
                  <c:v>0.01307984440436927</c:v>
                </c:pt>
                <c:pt idx="9">
                  <c:v>0.000797611918549687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2433457038408526</c:v>
                </c:pt>
                <c:pt idx="4">
                  <c:v>0.011262131109334302</c:v>
                </c:pt>
                <c:pt idx="6">
                  <c:v>0.05107049616108883</c:v>
                </c:pt>
                <c:pt idx="8">
                  <c:v>0.09062959575206156</c:v>
                </c:pt>
                <c:pt idx="10">
                  <c:v>0.00970039118540454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1138497638023591</c:v>
                </c:pt>
                <c:pt idx="7">
                  <c:v>0.00689183183589399</c:v>
                </c:pt>
                <c:pt idx="8">
                  <c:v>0.026214254166744982</c:v>
                </c:pt>
                <c:pt idx="10">
                  <c:v>0.002481895907706427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19000943622853032</c:v>
                </c:pt>
                <c:pt idx="5">
                  <c:v>0.024738282958946596</c:v>
                </c:pt>
                <c:pt idx="7">
                  <c:v>0.0017443731277586357</c:v>
                </c:pt>
                <c:pt idx="8">
                  <c:v>0.08257725884833314</c:v>
                </c:pt>
                <c:pt idx="9">
                  <c:v>0.0006769234324741557</c:v>
                </c:pt>
                <c:pt idx="10">
                  <c:v>0.0841927229094021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052300142362965</c:v>
                </c:pt>
                <c:pt idx="1">
                  <c:v>0.019824604767028808</c:v>
                </c:pt>
                <c:pt idx="4">
                  <c:v>0.06420020130790098</c:v>
                </c:pt>
                <c:pt idx="5">
                  <c:v>0.12858780681650162</c:v>
                </c:pt>
                <c:pt idx="6">
                  <c:v>0.0010673871020310734</c:v>
                </c:pt>
                <c:pt idx="8">
                  <c:v>0.054955471620282366</c:v>
                </c:pt>
                <c:pt idx="10">
                  <c:v>0.00410466039163621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655369993354527</c:v>
                </c:pt>
                <c:pt idx="3">
                  <c:v>0.016739178139837593</c:v>
                </c:pt>
                <c:pt idx="5">
                  <c:v>0.03290669035761033</c:v>
                </c:pt>
                <c:pt idx="7">
                  <c:v>0.09769090758421362</c:v>
                </c:pt>
                <c:pt idx="8">
                  <c:v>0.000592499043240388</c:v>
                </c:pt>
                <c:pt idx="9">
                  <c:v>0.018502181453992142</c:v>
                </c:pt>
                <c:pt idx="12">
                  <c:v>0.00516927252609959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960365324271645</c:v>
                </c:pt>
                <c:pt idx="1">
                  <c:v>0.036114911038373616</c:v>
                </c:pt>
                <c:pt idx="4">
                  <c:v>0.13704769360926553</c:v>
                </c:pt>
                <c:pt idx="5">
                  <c:v>0.0011162341815090673</c:v>
                </c:pt>
                <c:pt idx="6">
                  <c:v>0.26434531785433935</c:v>
                </c:pt>
                <c:pt idx="7">
                  <c:v>0.0033359109177129496</c:v>
                </c:pt>
                <c:pt idx="8">
                  <c:v>0.4005920055997594</c:v>
                </c:pt>
                <c:pt idx="9">
                  <c:v>0.1439714637218623</c:v>
                </c:pt>
                <c:pt idx="10">
                  <c:v>0.00086189692849985</c:v>
                </c:pt>
                <c:pt idx="11">
                  <c:v>0.00521920455530330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15805335482651196</c:v>
                </c:pt>
                <c:pt idx="8">
                  <c:v>0.03152850167189275</c:v>
                </c:pt>
                <c:pt idx="9">
                  <c:v>0.00341172004109587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655369993354527</c:v>
                </c:pt>
                <c:pt idx="3">
                  <c:v>0.016739178139837593</c:v>
                </c:pt>
                <c:pt idx="5">
                  <c:v>0.03290669035761033</c:v>
                </c:pt>
                <c:pt idx="7">
                  <c:v>0.09769090758421362</c:v>
                </c:pt>
                <c:pt idx="8">
                  <c:v>0.000592499043240388</c:v>
                </c:pt>
                <c:pt idx="9">
                  <c:v>0.018502181453992142</c:v>
                </c:pt>
                <c:pt idx="12">
                  <c:v>0.00516927252609959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655369993354527</c:v>
                </c:pt>
                <c:pt idx="3">
                  <c:v>0.016739178139837593</c:v>
                </c:pt>
                <c:pt idx="5">
                  <c:v>0.03290669035761033</c:v>
                </c:pt>
                <c:pt idx="7">
                  <c:v>0.09769090758421362</c:v>
                </c:pt>
                <c:pt idx="8">
                  <c:v>0.000592499043240388</c:v>
                </c:pt>
                <c:pt idx="9">
                  <c:v>0.018502181453992142</c:v>
                </c:pt>
                <c:pt idx="12">
                  <c:v>0.00516927252609959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655369993354527</c:v>
                </c:pt>
                <c:pt idx="3">
                  <c:v>0.016739178139837593</c:v>
                </c:pt>
                <c:pt idx="5">
                  <c:v>0.03290669035761033</c:v>
                </c:pt>
                <c:pt idx="7">
                  <c:v>0.09769090758421362</c:v>
                </c:pt>
                <c:pt idx="8">
                  <c:v>0.000592499043240388</c:v>
                </c:pt>
                <c:pt idx="9">
                  <c:v>0.018502181453992142</c:v>
                </c:pt>
                <c:pt idx="12">
                  <c:v>0.00516927252609959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8809060429939978</c:v>
                </c:pt>
                <c:pt idx="1">
                  <c:v>0.04854904242544989</c:v>
                </c:pt>
                <c:pt idx="3">
                  <c:v>0.00824377547534882</c:v>
                </c:pt>
                <c:pt idx="4">
                  <c:v>0.0022353924353407596</c:v>
                </c:pt>
                <c:pt idx="5">
                  <c:v>0.47110126521021417</c:v>
                </c:pt>
                <c:pt idx="7">
                  <c:v>0.45221803035632874</c:v>
                </c:pt>
                <c:pt idx="9">
                  <c:v>0.015771588054323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8809060429939978</c:v>
                </c:pt>
                <c:pt idx="1">
                  <c:v>0.04854904242544989</c:v>
                </c:pt>
                <c:pt idx="3">
                  <c:v>0.00824377547534882</c:v>
                </c:pt>
                <c:pt idx="4">
                  <c:v>0.0022353924353407596</c:v>
                </c:pt>
                <c:pt idx="5">
                  <c:v>0.47110126521021417</c:v>
                </c:pt>
                <c:pt idx="7">
                  <c:v>0.45221803035632874</c:v>
                </c:pt>
                <c:pt idx="9">
                  <c:v>0.015771588054323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2205148155128807</c:v>
                </c:pt>
                <c:pt idx="4">
                  <c:v>0.009706756589296888</c:v>
                </c:pt>
                <c:pt idx="5">
                  <c:v>0.02427562995010521</c:v>
                </c:pt>
                <c:pt idx="6">
                  <c:v>0.009044520074040469</c:v>
                </c:pt>
                <c:pt idx="7">
                  <c:v>0.025079115514853072</c:v>
                </c:pt>
                <c:pt idx="8">
                  <c:v>0.08214806127472997</c:v>
                </c:pt>
                <c:pt idx="9">
                  <c:v>0.020863756848689317</c:v>
                </c:pt>
                <c:pt idx="10">
                  <c:v>0.007871201869930844</c:v>
                </c:pt>
                <c:pt idx="12">
                  <c:v>0.000713849984851711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7914751728301275</c:v>
                </c:pt>
                <c:pt idx="6">
                  <c:v>0.018221491435368168</c:v>
                </c:pt>
                <c:pt idx="8">
                  <c:v>0.024821357447577318</c:v>
                </c:pt>
                <c:pt idx="9">
                  <c:v>0.44318587347492583</c:v>
                </c:pt>
                <c:pt idx="10">
                  <c:v>0.03191924475174359</c:v>
                </c:pt>
                <c:pt idx="12">
                  <c:v>0.00171777100381233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7914751728301275</c:v>
                </c:pt>
                <c:pt idx="6">
                  <c:v>0.018221491435368168</c:v>
                </c:pt>
                <c:pt idx="8">
                  <c:v>0.024821357447577318</c:v>
                </c:pt>
                <c:pt idx="9">
                  <c:v>0.44318587347492583</c:v>
                </c:pt>
                <c:pt idx="10">
                  <c:v>0.03191924475174359</c:v>
                </c:pt>
                <c:pt idx="12">
                  <c:v>0.001717771003812333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2205148155128807</c:v>
                </c:pt>
                <c:pt idx="4">
                  <c:v>0.009706756589296888</c:v>
                </c:pt>
                <c:pt idx="5">
                  <c:v>0.02427562995010521</c:v>
                </c:pt>
                <c:pt idx="6">
                  <c:v>0.009044520074040469</c:v>
                </c:pt>
                <c:pt idx="7">
                  <c:v>0.025079115514853072</c:v>
                </c:pt>
                <c:pt idx="8">
                  <c:v>0.08214806127472997</c:v>
                </c:pt>
                <c:pt idx="9">
                  <c:v>0.020863756848689317</c:v>
                </c:pt>
                <c:pt idx="10">
                  <c:v>0.007871201869930844</c:v>
                </c:pt>
                <c:pt idx="12">
                  <c:v>0.000713849984851711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8554906966759345</c:v>
                </c:pt>
                <c:pt idx="1">
                  <c:v>0.028441740379247182</c:v>
                </c:pt>
                <c:pt idx="2">
                  <c:v>0.009761321362807114</c:v>
                </c:pt>
                <c:pt idx="3">
                  <c:v>0.09760051376392251</c:v>
                </c:pt>
                <c:pt idx="4">
                  <c:v>0.030379211598501585</c:v>
                </c:pt>
                <c:pt idx="5">
                  <c:v>0.2117089305351219</c:v>
                </c:pt>
                <c:pt idx="6">
                  <c:v>0.046255803376908426</c:v>
                </c:pt>
                <c:pt idx="7">
                  <c:v>0.09078708800262184</c:v>
                </c:pt>
                <c:pt idx="8">
                  <c:v>0.32083983687169554</c:v>
                </c:pt>
                <c:pt idx="9">
                  <c:v>0.11338747694483581</c:v>
                </c:pt>
                <c:pt idx="10">
                  <c:v>0.04521635337225678</c:v>
                </c:pt>
                <c:pt idx="11">
                  <c:v>0.000756581387852979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3345484122363226</c:v>
                </c:pt>
                <c:pt idx="2">
                  <c:v>0.011816098297296278</c:v>
                </c:pt>
                <c:pt idx="3">
                  <c:v>0.02157963082934196</c:v>
                </c:pt>
                <c:pt idx="4">
                  <c:v>0.006518595838358173</c:v>
                </c:pt>
                <c:pt idx="6">
                  <c:v>0.018364356282885276</c:v>
                </c:pt>
                <c:pt idx="7">
                  <c:v>0.03580008793101775</c:v>
                </c:pt>
                <c:pt idx="8">
                  <c:v>0.005128412768341157</c:v>
                </c:pt>
                <c:pt idx="9">
                  <c:v>0.0202950667345055</c:v>
                </c:pt>
                <c:pt idx="10">
                  <c:v>0.000816379134259157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4563535271219697</c:v>
                </c:pt>
                <c:pt idx="4">
                  <c:v>0.006193192001547627</c:v>
                </c:pt>
                <c:pt idx="5">
                  <c:v>0.007396713151231947</c:v>
                </c:pt>
                <c:pt idx="6">
                  <c:v>0.03980787215580127</c:v>
                </c:pt>
                <c:pt idx="7">
                  <c:v>0.07417629568910623</c:v>
                </c:pt>
                <c:pt idx="8">
                  <c:v>0.008958013961945132</c:v>
                </c:pt>
                <c:pt idx="9">
                  <c:v>0.0006370178789493389</c:v>
                </c:pt>
                <c:pt idx="10">
                  <c:v>0.00881418547778728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302759702440282</c:v>
                </c:pt>
                <c:pt idx="8">
                  <c:v>0.010300165534904381</c:v>
                </c:pt>
                <c:pt idx="9">
                  <c:v>0.0024149558391494013</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7281634597190107</c:v>
                </c:pt>
                <c:pt idx="1">
                  <c:v>0.0010583702885681786</c:v>
                </c:pt>
                <c:pt idx="2">
                  <c:v>0.0008278998733223463</c:v>
                </c:pt>
                <c:pt idx="3">
                  <c:v>0.01423393606681213</c:v>
                </c:pt>
                <c:pt idx="4">
                  <c:v>0.00932671567732331</c:v>
                </c:pt>
                <c:pt idx="5">
                  <c:v>0.006528811543850185</c:v>
                </c:pt>
                <c:pt idx="6">
                  <c:v>0.020687679800231642</c:v>
                </c:pt>
                <c:pt idx="7">
                  <c:v>0.033762439731079376</c:v>
                </c:pt>
                <c:pt idx="8">
                  <c:v>0.05770096108521633</c:v>
                </c:pt>
                <c:pt idx="9">
                  <c:v>0.05831023697765184</c:v>
                </c:pt>
                <c:pt idx="10">
                  <c:v>0.03546045012863411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02604758939700189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2558549065892</c:v>
                </c:pt>
                <c:pt idx="1">
                  <c:v>0.007357605389945055</c:v>
                </c:pt>
                <c:pt idx="2">
                  <c:v>0.010864759231145675</c:v>
                </c:pt>
                <c:pt idx="3">
                  <c:v>0.04570673291309584</c:v>
                </c:pt>
                <c:pt idx="4">
                  <c:v>0.012328658904069463</c:v>
                </c:pt>
                <c:pt idx="5">
                  <c:v>0.023016156105463374</c:v>
                </c:pt>
                <c:pt idx="6">
                  <c:v>0.10743489470807492</c:v>
                </c:pt>
                <c:pt idx="7">
                  <c:v>0.04480017672488028</c:v>
                </c:pt>
                <c:pt idx="8">
                  <c:v>0.010921949162797437</c:v>
                </c:pt>
                <c:pt idx="10">
                  <c:v>0.00262233499849543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2205148155128807</c:v>
                </c:pt>
                <c:pt idx="4">
                  <c:v>0.009706756589296888</c:v>
                </c:pt>
                <c:pt idx="5">
                  <c:v>0.02427562995010521</c:v>
                </c:pt>
                <c:pt idx="6">
                  <c:v>0.009044520074040469</c:v>
                </c:pt>
                <c:pt idx="7">
                  <c:v>0.025079115514853072</c:v>
                </c:pt>
                <c:pt idx="8">
                  <c:v>0.08214806127472997</c:v>
                </c:pt>
                <c:pt idx="9">
                  <c:v>0.020863756848689317</c:v>
                </c:pt>
                <c:pt idx="10">
                  <c:v>0.007871201869930844</c:v>
                </c:pt>
                <c:pt idx="12">
                  <c:v>0.00071384998485171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2205148155128807</c:v>
                </c:pt>
                <c:pt idx="4">
                  <c:v>0.009706756589296888</c:v>
                </c:pt>
                <c:pt idx="5">
                  <c:v>0.02427562995010521</c:v>
                </c:pt>
                <c:pt idx="6">
                  <c:v>0.009044520074040469</c:v>
                </c:pt>
                <c:pt idx="7">
                  <c:v>0.025079115514853072</c:v>
                </c:pt>
                <c:pt idx="8">
                  <c:v>0.08214806127472997</c:v>
                </c:pt>
                <c:pt idx="9">
                  <c:v>0.020863756848689317</c:v>
                </c:pt>
                <c:pt idx="10">
                  <c:v>0.007871201869930844</c:v>
                </c:pt>
                <c:pt idx="12">
                  <c:v>0.00071384998485171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8554906966759345</c:v>
                </c:pt>
                <c:pt idx="1">
                  <c:v>0.028441740379247182</c:v>
                </c:pt>
                <c:pt idx="2">
                  <c:v>0.009761321362807114</c:v>
                </c:pt>
                <c:pt idx="3">
                  <c:v>0.09760051376392251</c:v>
                </c:pt>
                <c:pt idx="4">
                  <c:v>0.030379211598501585</c:v>
                </c:pt>
                <c:pt idx="5">
                  <c:v>0.2117089305351219</c:v>
                </c:pt>
                <c:pt idx="6">
                  <c:v>0.046255803376908426</c:v>
                </c:pt>
                <c:pt idx="7">
                  <c:v>0.09078708800262184</c:v>
                </c:pt>
                <c:pt idx="8">
                  <c:v>0.32083983687169554</c:v>
                </c:pt>
                <c:pt idx="9">
                  <c:v>0.11338747694483581</c:v>
                </c:pt>
                <c:pt idx="10">
                  <c:v>0.04521635337225678</c:v>
                </c:pt>
                <c:pt idx="11">
                  <c:v>0.000756581387852979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1138497638023591</c:v>
                </c:pt>
                <c:pt idx="7">
                  <c:v>0.00689183183589399</c:v>
                </c:pt>
                <c:pt idx="8">
                  <c:v>0.026214254166744982</c:v>
                </c:pt>
                <c:pt idx="10">
                  <c:v>0.002481895907706427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2205148155128807</c:v>
                </c:pt>
                <c:pt idx="4">
                  <c:v>0.009706756589296888</c:v>
                </c:pt>
                <c:pt idx="5">
                  <c:v>0.02427562995010521</c:v>
                </c:pt>
                <c:pt idx="6">
                  <c:v>0.009044520074040469</c:v>
                </c:pt>
                <c:pt idx="7">
                  <c:v>0.025079115514853072</c:v>
                </c:pt>
                <c:pt idx="8">
                  <c:v>0.08214806127472997</c:v>
                </c:pt>
                <c:pt idx="9">
                  <c:v>0.020863756848689317</c:v>
                </c:pt>
                <c:pt idx="10">
                  <c:v>0.007871201869930844</c:v>
                </c:pt>
                <c:pt idx="12">
                  <c:v>0.000713849984851711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2205148155128807</c:v>
                </c:pt>
                <c:pt idx="4">
                  <c:v>0.009706756589296888</c:v>
                </c:pt>
                <c:pt idx="5">
                  <c:v>0.02427562995010521</c:v>
                </c:pt>
                <c:pt idx="6">
                  <c:v>0.009044520074040469</c:v>
                </c:pt>
                <c:pt idx="7">
                  <c:v>0.025079115514853072</c:v>
                </c:pt>
                <c:pt idx="8">
                  <c:v>0.08214806127472997</c:v>
                </c:pt>
                <c:pt idx="9">
                  <c:v>0.020863756848689317</c:v>
                </c:pt>
                <c:pt idx="10">
                  <c:v>0.007871201869930844</c:v>
                </c:pt>
                <c:pt idx="12">
                  <c:v>0.000713849984851711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2205148155128807</c:v>
                </c:pt>
                <c:pt idx="4">
                  <c:v>0.009706756589296888</c:v>
                </c:pt>
                <c:pt idx="5">
                  <c:v>0.02427562995010521</c:v>
                </c:pt>
                <c:pt idx="6">
                  <c:v>0.009044520074040469</c:v>
                </c:pt>
                <c:pt idx="7">
                  <c:v>0.025079115514853072</c:v>
                </c:pt>
                <c:pt idx="8">
                  <c:v>0.08214806127472997</c:v>
                </c:pt>
                <c:pt idx="9">
                  <c:v>0.020863756848689317</c:v>
                </c:pt>
                <c:pt idx="10">
                  <c:v>0.007871201869930844</c:v>
                </c:pt>
                <c:pt idx="12">
                  <c:v>0.00071384998485171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3150243301704233</c:v>
                </c:pt>
                <c:pt idx="1">
                  <c:v>0.03196125829072428</c:v>
                </c:pt>
                <c:pt idx="3">
                  <c:v>0.002073048452954874</c:v>
                </c:pt>
                <c:pt idx="4">
                  <c:v>0.0023475277936841057</c:v>
                </c:pt>
                <c:pt idx="5">
                  <c:v>0.3816274858616097</c:v>
                </c:pt>
                <c:pt idx="7">
                  <c:v>0.5662985597683995</c:v>
                </c:pt>
                <c:pt idx="9">
                  <c:v>0.014377095502457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3150243301704233</c:v>
                </c:pt>
                <c:pt idx="1">
                  <c:v>0.03196125829072428</c:v>
                </c:pt>
                <c:pt idx="3">
                  <c:v>0.002073048452954874</c:v>
                </c:pt>
                <c:pt idx="4">
                  <c:v>0.0023475277936841057</c:v>
                </c:pt>
                <c:pt idx="5">
                  <c:v>0.3816274858616097</c:v>
                </c:pt>
                <c:pt idx="7">
                  <c:v>0.5662985597683995</c:v>
                </c:pt>
                <c:pt idx="9">
                  <c:v>0.014377095502457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3150243301704233</c:v>
                </c:pt>
                <c:pt idx="1">
                  <c:v>0.03196125829072428</c:v>
                </c:pt>
                <c:pt idx="3">
                  <c:v>0.002073048452954874</c:v>
                </c:pt>
                <c:pt idx="4">
                  <c:v>0.0023475277936841057</c:v>
                </c:pt>
                <c:pt idx="5">
                  <c:v>0.3816274858616097</c:v>
                </c:pt>
                <c:pt idx="7">
                  <c:v>0.5662985597683995</c:v>
                </c:pt>
                <c:pt idx="9">
                  <c:v>0.014377095502457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694532498537673</c:v>
                </c:pt>
                <c:pt idx="6">
                  <c:v>0.017951669769388317</c:v>
                </c:pt>
                <c:pt idx="8">
                  <c:v>0.019052357072915773</c:v>
                </c:pt>
                <c:pt idx="9">
                  <c:v>0.03406943844743591</c:v>
                </c:pt>
                <c:pt idx="10">
                  <c:v>0.4520035222614576</c:v>
                </c:pt>
                <c:pt idx="11">
                  <c:v>0.0074527147212684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694532498537673</c:v>
                </c:pt>
                <c:pt idx="6">
                  <c:v>0.017951669769388317</c:v>
                </c:pt>
                <c:pt idx="8">
                  <c:v>0.019052357072915773</c:v>
                </c:pt>
                <c:pt idx="9">
                  <c:v>0.03406943844743591</c:v>
                </c:pt>
                <c:pt idx="10">
                  <c:v>0.4520035222614576</c:v>
                </c:pt>
                <c:pt idx="11">
                  <c:v>0.0074527147212684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373416783754474</c:v>
                </c:pt>
                <c:pt idx="1">
                  <c:v>0.03204776445831363</c:v>
                </c:pt>
                <c:pt idx="2">
                  <c:v>0.008405359593863451</c:v>
                </c:pt>
                <c:pt idx="3">
                  <c:v>0.0954400099261946</c:v>
                </c:pt>
                <c:pt idx="4">
                  <c:v>0.029240642403088886</c:v>
                </c:pt>
                <c:pt idx="5">
                  <c:v>0.19941916020036943</c:v>
                </c:pt>
                <c:pt idx="6">
                  <c:v>0.04125013737428249</c:v>
                </c:pt>
                <c:pt idx="7">
                  <c:v>0.09823377550427922</c:v>
                </c:pt>
                <c:pt idx="8">
                  <c:v>0.325267885482307</c:v>
                </c:pt>
                <c:pt idx="9">
                  <c:v>0.11967348660579877</c:v>
                </c:pt>
                <c:pt idx="10">
                  <c:v>0.046418593159612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1857112540059825</c:v>
                </c:pt>
                <c:pt idx="2">
                  <c:v>0.0029665530756587985</c:v>
                </c:pt>
                <c:pt idx="3">
                  <c:v>0.004164634375316107</c:v>
                </c:pt>
                <c:pt idx="4">
                  <c:v>0.02327368924263766</c:v>
                </c:pt>
                <c:pt idx="5">
                  <c:v>0.0007047277503417893</c:v>
                </c:pt>
                <c:pt idx="6">
                  <c:v>0.015428665665937917</c:v>
                </c:pt>
                <c:pt idx="7">
                  <c:v>0.0032936277599112814</c:v>
                </c:pt>
                <c:pt idx="8">
                  <c:v>0.030370593743905612</c:v>
                </c:pt>
                <c:pt idx="9">
                  <c:v>0.025860799113257123</c:v>
                </c:pt>
                <c:pt idx="10">
                  <c:v>0.001643000393724565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6060293469893772</c:v>
                </c:pt>
                <c:pt idx="4">
                  <c:v>0.006767117445120051</c:v>
                </c:pt>
                <c:pt idx="5">
                  <c:v>0.0329103040212457</c:v>
                </c:pt>
                <c:pt idx="6">
                  <c:v>0.005739190773981614</c:v>
                </c:pt>
                <c:pt idx="7">
                  <c:v>0.08068075949911196</c:v>
                </c:pt>
                <c:pt idx="8">
                  <c:v>0.007387633137112374</c:v>
                </c:pt>
                <c:pt idx="9">
                  <c:v>0.00870546691474732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3027397924249747</c:v>
                </c:pt>
                <c:pt idx="8">
                  <c:v>0.010885058477386517</c:v>
                </c:pt>
                <c:pt idx="9">
                  <c:v>0.00226461189986320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1061428902955416</c:v>
                </c:pt>
                <c:pt idx="3">
                  <c:v>0.009976741179113511</c:v>
                </c:pt>
                <c:pt idx="4">
                  <c:v>0.013412423288703354</c:v>
                </c:pt>
                <c:pt idx="5">
                  <c:v>0.0057758071320460815</c:v>
                </c:pt>
                <c:pt idx="6">
                  <c:v>0.023300029858616653</c:v>
                </c:pt>
                <c:pt idx="7">
                  <c:v>0.06307865711540746</c:v>
                </c:pt>
                <c:pt idx="8">
                  <c:v>0.049129873216025834</c:v>
                </c:pt>
                <c:pt idx="9">
                  <c:v>0.032986249109270054</c:v>
                </c:pt>
                <c:pt idx="10">
                  <c:v>0.0543209979111688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0407649885180673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218282918329833</c:v>
                </c:pt>
                <c:pt idx="1">
                  <c:v>0.005250572943842559</c:v>
                </c:pt>
                <c:pt idx="2">
                  <c:v>0.00673595365684046</c:v>
                </c:pt>
                <c:pt idx="3">
                  <c:v>0.040906064982812414</c:v>
                </c:pt>
                <c:pt idx="4">
                  <c:v>0.010250143496001179</c:v>
                </c:pt>
                <c:pt idx="5">
                  <c:v>0.022986128794972006</c:v>
                </c:pt>
                <c:pt idx="6">
                  <c:v>0.10689430476369623</c:v>
                </c:pt>
                <c:pt idx="7">
                  <c:v>0.04885479868940098</c:v>
                </c:pt>
                <c:pt idx="8">
                  <c:v>0.011554750651134886</c:v>
                </c:pt>
                <c:pt idx="10">
                  <c:v>0.003613438534671493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4849123352658089</c:v>
                </c:pt>
                <c:pt idx="4">
                  <c:v>0.010927593821897896</c:v>
                </c:pt>
                <c:pt idx="5">
                  <c:v>0.01984584081289428</c:v>
                </c:pt>
                <c:pt idx="6">
                  <c:v>0.006044282922940998</c:v>
                </c:pt>
                <c:pt idx="7">
                  <c:v>0.022248111880424762</c:v>
                </c:pt>
                <c:pt idx="8">
                  <c:v>0.07810410425196825</c:v>
                </c:pt>
                <c:pt idx="9">
                  <c:v>0.02323446386636993</c:v>
                </c:pt>
                <c:pt idx="10">
                  <c:v>0.01140040648742115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373416783754474</c:v>
                </c:pt>
                <c:pt idx="1">
                  <c:v>0.03204776445831363</c:v>
                </c:pt>
                <c:pt idx="2">
                  <c:v>0.008405359593863451</c:v>
                </c:pt>
                <c:pt idx="3">
                  <c:v>0.0954400099261946</c:v>
                </c:pt>
                <c:pt idx="4">
                  <c:v>0.029240642403088886</c:v>
                </c:pt>
                <c:pt idx="5">
                  <c:v>0.19941916020036943</c:v>
                </c:pt>
                <c:pt idx="6">
                  <c:v>0.04125013737428249</c:v>
                </c:pt>
                <c:pt idx="7">
                  <c:v>0.09823377550427922</c:v>
                </c:pt>
                <c:pt idx="8">
                  <c:v>0.325267885482307</c:v>
                </c:pt>
                <c:pt idx="9">
                  <c:v>0.11967348660579877</c:v>
                </c:pt>
                <c:pt idx="10">
                  <c:v>0.046418593159612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10400150779786381</c:v>
                </c:pt>
                <c:pt idx="7">
                  <c:v>0.0046197788596700935</c:v>
                </c:pt>
                <c:pt idx="8">
                  <c:v>0.024178972182512762</c:v>
                </c:pt>
                <c:pt idx="10">
                  <c:v>0.00393832026558400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4849123352658089</c:v>
                </c:pt>
                <c:pt idx="4">
                  <c:v>0.010927593821897896</c:v>
                </c:pt>
                <c:pt idx="5">
                  <c:v>0.01984584081289428</c:v>
                </c:pt>
                <c:pt idx="6">
                  <c:v>0.006044282922940998</c:v>
                </c:pt>
                <c:pt idx="7">
                  <c:v>0.022248111880424762</c:v>
                </c:pt>
                <c:pt idx="8">
                  <c:v>0.07810410425196825</c:v>
                </c:pt>
                <c:pt idx="9">
                  <c:v>0.02323446386636993</c:v>
                </c:pt>
                <c:pt idx="10">
                  <c:v>0.01140040648742115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4849123352658089</c:v>
                </c:pt>
                <c:pt idx="4">
                  <c:v>0.010927593821897896</c:v>
                </c:pt>
                <c:pt idx="5">
                  <c:v>0.01984584081289428</c:v>
                </c:pt>
                <c:pt idx="6">
                  <c:v>0.006044282922940998</c:v>
                </c:pt>
                <c:pt idx="7">
                  <c:v>0.022248111880424762</c:v>
                </c:pt>
                <c:pt idx="8">
                  <c:v>0.07810410425196825</c:v>
                </c:pt>
                <c:pt idx="9">
                  <c:v>0.02323446386636993</c:v>
                </c:pt>
                <c:pt idx="10">
                  <c:v>0.01140040648742115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4849123352658089</c:v>
                </c:pt>
                <c:pt idx="4">
                  <c:v>0.010927593821897896</c:v>
                </c:pt>
                <c:pt idx="5">
                  <c:v>0.01984584081289428</c:v>
                </c:pt>
                <c:pt idx="6">
                  <c:v>0.006044282922940998</c:v>
                </c:pt>
                <c:pt idx="7">
                  <c:v>0.022248111880424762</c:v>
                </c:pt>
                <c:pt idx="8">
                  <c:v>0.07810410425196825</c:v>
                </c:pt>
                <c:pt idx="9">
                  <c:v>0.02323446386636993</c:v>
                </c:pt>
                <c:pt idx="10">
                  <c:v>0.01140040648742115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7133835699403206</c:v>
                </c:pt>
                <c:pt idx="1">
                  <c:v>0.019618191826917</c:v>
                </c:pt>
                <c:pt idx="4">
                  <c:v>0.0007402755160323117</c:v>
                </c:pt>
                <c:pt idx="6">
                  <c:v>0.32972950609608237</c:v>
                </c:pt>
                <c:pt idx="7">
                  <c:v>0.6455594961322716</c:v>
                </c:pt>
                <c:pt idx="10">
                  <c:v>0.0036391468587563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7133835699403206</c:v>
                </c:pt>
                <c:pt idx="1">
                  <c:v>0.019618191826917</c:v>
                </c:pt>
                <c:pt idx="4">
                  <c:v>0.0007402755160323117</c:v>
                </c:pt>
                <c:pt idx="6">
                  <c:v>0.32972950609608237</c:v>
                </c:pt>
                <c:pt idx="7">
                  <c:v>0.6455594961322716</c:v>
                </c:pt>
                <c:pt idx="10">
                  <c:v>0.0036391468587563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6155373871998238</c:v>
                </c:pt>
                <c:pt idx="6">
                  <c:v>0.49944007839767784</c:v>
                </c:pt>
                <c:pt idx="8">
                  <c:v>0.031881979303787146</c:v>
                </c:pt>
                <c:pt idx="9">
                  <c:v>0.45125440925969906</c:v>
                </c:pt>
                <c:pt idx="10">
                  <c:v>0.00126627112771501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6155373871998238</c:v>
                </c:pt>
                <c:pt idx="6">
                  <c:v>0.49944007839767784</c:v>
                </c:pt>
                <c:pt idx="8">
                  <c:v>0.031881979303787146</c:v>
                </c:pt>
                <c:pt idx="9">
                  <c:v>0.45125440925969906</c:v>
                </c:pt>
                <c:pt idx="10">
                  <c:v>0.00126627112771501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960365324271645</c:v>
                </c:pt>
                <c:pt idx="1">
                  <c:v>0.036114911038373616</c:v>
                </c:pt>
                <c:pt idx="4">
                  <c:v>0.13704769360926553</c:v>
                </c:pt>
                <c:pt idx="5">
                  <c:v>0.0011162341815090673</c:v>
                </c:pt>
                <c:pt idx="6">
                  <c:v>0.26434531785433935</c:v>
                </c:pt>
                <c:pt idx="7">
                  <c:v>0.0033359109177129496</c:v>
                </c:pt>
                <c:pt idx="8">
                  <c:v>0.4005920055997594</c:v>
                </c:pt>
                <c:pt idx="9">
                  <c:v>0.1439714637218623</c:v>
                </c:pt>
                <c:pt idx="10">
                  <c:v>0.00086189692849985</c:v>
                </c:pt>
                <c:pt idx="11">
                  <c:v>0.00521920455530330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13117158676907078</c:v>
                </c:pt>
                <c:pt idx="3">
                  <c:v>0.02583176970894678</c:v>
                </c:pt>
                <c:pt idx="5">
                  <c:v>0.025461508011926873</c:v>
                </c:pt>
                <c:pt idx="7">
                  <c:v>0.0005901691832524719</c:v>
                </c:pt>
                <c:pt idx="8">
                  <c:v>0.04321027012297594</c:v>
                </c:pt>
                <c:pt idx="9">
                  <c:v>0.0240597877403313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2433457038408526</c:v>
                </c:pt>
                <c:pt idx="4">
                  <c:v>0.011262131109334302</c:v>
                </c:pt>
                <c:pt idx="6">
                  <c:v>0.05107049616108883</c:v>
                </c:pt>
                <c:pt idx="8">
                  <c:v>0.09062959575206156</c:v>
                </c:pt>
                <c:pt idx="10">
                  <c:v>0.00970039118540454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60152603360252395</c:v>
                </c:pt>
                <c:pt idx="8">
                  <c:v>0.014249279373871063</c:v>
                </c:pt>
                <c:pt idx="9">
                  <c:v>0.00409036304933723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19000943622853032</c:v>
                </c:pt>
                <c:pt idx="5">
                  <c:v>0.024738282958946596</c:v>
                </c:pt>
                <c:pt idx="7">
                  <c:v>0.0017443731277586357</c:v>
                </c:pt>
                <c:pt idx="8">
                  <c:v>0.08257725884833314</c:v>
                </c:pt>
                <c:pt idx="9">
                  <c:v>0.0006769234324741557</c:v>
                </c:pt>
                <c:pt idx="10">
                  <c:v>0.0841927229094021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03039789190651794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052300142362965</c:v>
                </c:pt>
                <c:pt idx="1">
                  <c:v>0.019824604767028808</c:v>
                </c:pt>
                <c:pt idx="4">
                  <c:v>0.06420020130790098</c:v>
                </c:pt>
                <c:pt idx="5">
                  <c:v>0.12858780681650162</c:v>
                </c:pt>
                <c:pt idx="6">
                  <c:v>0.0010673871020310734</c:v>
                </c:pt>
                <c:pt idx="8">
                  <c:v>0.054955471620282366</c:v>
                </c:pt>
                <c:pt idx="10">
                  <c:v>0.00410466039163621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655369993354527</c:v>
                </c:pt>
                <c:pt idx="3">
                  <c:v>0.016739178139837593</c:v>
                </c:pt>
                <c:pt idx="5">
                  <c:v>0.03290669035761033</c:v>
                </c:pt>
                <c:pt idx="7">
                  <c:v>0.09769090758421362</c:v>
                </c:pt>
                <c:pt idx="8">
                  <c:v>0.000592499043240388</c:v>
                </c:pt>
                <c:pt idx="9">
                  <c:v>0.018502181453992142</c:v>
                </c:pt>
                <c:pt idx="12">
                  <c:v>0.00516927252609959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960365324271645</c:v>
                </c:pt>
                <c:pt idx="1">
                  <c:v>0.036114911038373616</c:v>
                </c:pt>
                <c:pt idx="4">
                  <c:v>0.13704769360926553</c:v>
                </c:pt>
                <c:pt idx="5">
                  <c:v>0.0011162341815090673</c:v>
                </c:pt>
                <c:pt idx="6">
                  <c:v>0.26434531785433935</c:v>
                </c:pt>
                <c:pt idx="7">
                  <c:v>0.0033359109177129496</c:v>
                </c:pt>
                <c:pt idx="8">
                  <c:v>0.4005920055997594</c:v>
                </c:pt>
                <c:pt idx="9">
                  <c:v>0.1439714637218623</c:v>
                </c:pt>
                <c:pt idx="10">
                  <c:v>0.00086189692849985</c:v>
                </c:pt>
                <c:pt idx="11">
                  <c:v>0.00521920455530330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15805335482651196</c:v>
                </c:pt>
                <c:pt idx="8">
                  <c:v>0.03152850167189275</c:v>
                </c:pt>
                <c:pt idx="9">
                  <c:v>0.00341172004109587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655369993354527</c:v>
                </c:pt>
                <c:pt idx="3">
                  <c:v>0.016739178139837593</c:v>
                </c:pt>
                <c:pt idx="5">
                  <c:v>0.03290669035761033</c:v>
                </c:pt>
                <c:pt idx="7">
                  <c:v>0.09769090758421362</c:v>
                </c:pt>
                <c:pt idx="8">
                  <c:v>0.000592499043240388</c:v>
                </c:pt>
                <c:pt idx="9">
                  <c:v>0.018502181453992142</c:v>
                </c:pt>
                <c:pt idx="12">
                  <c:v>0.00516927252609959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3150243301704233</c:v>
                </c:pt>
                <c:pt idx="1">
                  <c:v>0.03196125829072428</c:v>
                </c:pt>
                <c:pt idx="3">
                  <c:v>0.002073048452954874</c:v>
                </c:pt>
                <c:pt idx="4">
                  <c:v>0.0023475277936841057</c:v>
                </c:pt>
                <c:pt idx="5">
                  <c:v>0.3816274858616097</c:v>
                </c:pt>
                <c:pt idx="7">
                  <c:v>0.5662985597683995</c:v>
                </c:pt>
                <c:pt idx="9">
                  <c:v>0.014377095502457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655369993354527</c:v>
                </c:pt>
                <c:pt idx="3">
                  <c:v>0.016739178139837593</c:v>
                </c:pt>
                <c:pt idx="5">
                  <c:v>0.03290669035761033</c:v>
                </c:pt>
                <c:pt idx="7">
                  <c:v>0.09769090758421362</c:v>
                </c:pt>
                <c:pt idx="8">
                  <c:v>0.000592499043240388</c:v>
                </c:pt>
                <c:pt idx="9">
                  <c:v>0.018502181453992142</c:v>
                </c:pt>
                <c:pt idx="12">
                  <c:v>0.00516927252609959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655369993354527</c:v>
                </c:pt>
                <c:pt idx="3">
                  <c:v>0.016739178139837593</c:v>
                </c:pt>
                <c:pt idx="5">
                  <c:v>0.03290669035761033</c:v>
                </c:pt>
                <c:pt idx="7">
                  <c:v>0.09769090758421362</c:v>
                </c:pt>
                <c:pt idx="8">
                  <c:v>0.000592499043240388</c:v>
                </c:pt>
                <c:pt idx="9">
                  <c:v>0.018502181453992142</c:v>
                </c:pt>
                <c:pt idx="12">
                  <c:v>0.00516927252609959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8809060429939978</c:v>
                </c:pt>
                <c:pt idx="1">
                  <c:v>0.04854904242544989</c:v>
                </c:pt>
                <c:pt idx="3">
                  <c:v>0.00824377547534882</c:v>
                </c:pt>
                <c:pt idx="4">
                  <c:v>0.0022353924353407596</c:v>
                </c:pt>
                <c:pt idx="5">
                  <c:v>0.47110126521021417</c:v>
                </c:pt>
                <c:pt idx="7">
                  <c:v>0.45221803035632874</c:v>
                </c:pt>
                <c:pt idx="9">
                  <c:v>0.015771588054323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8809060429939978</c:v>
                </c:pt>
                <c:pt idx="1">
                  <c:v>0.04854904242544989</c:v>
                </c:pt>
                <c:pt idx="3">
                  <c:v>0.00824377547534882</c:v>
                </c:pt>
                <c:pt idx="4">
                  <c:v>0.0022353924353407596</c:v>
                </c:pt>
                <c:pt idx="5">
                  <c:v>0.47110126521021417</c:v>
                </c:pt>
                <c:pt idx="7">
                  <c:v>0.45221803035632874</c:v>
                </c:pt>
                <c:pt idx="9">
                  <c:v>0.0157715880543236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694532498537673</c:v>
                </c:pt>
                <c:pt idx="6">
                  <c:v>0.017951669769388317</c:v>
                </c:pt>
                <c:pt idx="8">
                  <c:v>0.019052357072915773</c:v>
                </c:pt>
                <c:pt idx="9">
                  <c:v>0.03406943844743591</c:v>
                </c:pt>
                <c:pt idx="10">
                  <c:v>0.4520035222614576</c:v>
                </c:pt>
                <c:pt idx="11">
                  <c:v>0.0074527147212684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694532498537673</c:v>
                </c:pt>
                <c:pt idx="6">
                  <c:v>0.017951669769388317</c:v>
                </c:pt>
                <c:pt idx="8">
                  <c:v>0.019052357072915773</c:v>
                </c:pt>
                <c:pt idx="9">
                  <c:v>0.03406943844743591</c:v>
                </c:pt>
                <c:pt idx="10">
                  <c:v>0.4520035222614576</c:v>
                </c:pt>
                <c:pt idx="11">
                  <c:v>0.0074527147212684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373416783754474</c:v>
                </c:pt>
                <c:pt idx="1">
                  <c:v>0.03204776445831363</c:v>
                </c:pt>
                <c:pt idx="2">
                  <c:v>0.008405359593863451</c:v>
                </c:pt>
                <c:pt idx="3">
                  <c:v>0.0954400099261946</c:v>
                </c:pt>
                <c:pt idx="4">
                  <c:v>0.029240642403088886</c:v>
                </c:pt>
                <c:pt idx="5">
                  <c:v>0.19941916020036943</c:v>
                </c:pt>
                <c:pt idx="6">
                  <c:v>0.04125013737428249</c:v>
                </c:pt>
                <c:pt idx="7">
                  <c:v>0.09823377550427922</c:v>
                </c:pt>
                <c:pt idx="8">
                  <c:v>0.325267885482307</c:v>
                </c:pt>
                <c:pt idx="9">
                  <c:v>0.11967348660579877</c:v>
                </c:pt>
                <c:pt idx="10">
                  <c:v>0.046418593159612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1857112540059825</c:v>
                </c:pt>
                <c:pt idx="2">
                  <c:v>0.0029665530756587985</c:v>
                </c:pt>
                <c:pt idx="3">
                  <c:v>0.004164634375316107</c:v>
                </c:pt>
                <c:pt idx="4">
                  <c:v>0.02327368924263766</c:v>
                </c:pt>
                <c:pt idx="5">
                  <c:v>0.0007047277503417893</c:v>
                </c:pt>
                <c:pt idx="6">
                  <c:v>0.015428665665937917</c:v>
                </c:pt>
                <c:pt idx="7">
                  <c:v>0.0032936277599112814</c:v>
                </c:pt>
                <c:pt idx="8">
                  <c:v>0.030370593743905612</c:v>
                </c:pt>
                <c:pt idx="9">
                  <c:v>0.025860799113257123</c:v>
                </c:pt>
                <c:pt idx="10">
                  <c:v>0.001643000393724565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 Id="rId8" Type="http://schemas.openxmlformats.org/officeDocument/2006/relationships/chart" Target="../charts/chart519.xml"/><Relationship Id="rId9" Type="http://schemas.openxmlformats.org/officeDocument/2006/relationships/chart" Target="../charts/chart520.xml"/><Relationship Id="rId10" Type="http://schemas.openxmlformats.org/officeDocument/2006/relationships/chart" Target="../charts/chart521.xml"/><Relationship Id="rId11" Type="http://schemas.openxmlformats.org/officeDocument/2006/relationships/chart" Target="../charts/chart522.xml"/><Relationship Id="rId12" Type="http://schemas.openxmlformats.org/officeDocument/2006/relationships/chart" Target="../charts/chart523.xml"/><Relationship Id="rId13" Type="http://schemas.openxmlformats.org/officeDocument/2006/relationships/chart" Target="../charts/chart524.xml"/><Relationship Id="rId14" Type="http://schemas.openxmlformats.org/officeDocument/2006/relationships/chart" Target="../charts/chart525.xml"/><Relationship Id="rId15" Type="http://schemas.openxmlformats.org/officeDocument/2006/relationships/chart" Target="../charts/chart526.xml"/><Relationship Id="rId16" Type="http://schemas.openxmlformats.org/officeDocument/2006/relationships/chart" Target="../charts/chart527.xml"/><Relationship Id="rId17" Type="http://schemas.openxmlformats.org/officeDocument/2006/relationships/chart" Target="../charts/chart52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1.xml"/><Relationship Id="rId7" Type="http://schemas.openxmlformats.org/officeDocument/2006/relationships/chart" Target="../charts/chart542.xml"/><Relationship Id="rId8" Type="http://schemas.openxmlformats.org/officeDocument/2006/relationships/chart" Target="../charts/chart543.xml"/><Relationship Id="rId9" Type="http://schemas.openxmlformats.org/officeDocument/2006/relationships/chart" Target="../charts/chart544.xml"/><Relationship Id="rId10" Type="http://schemas.openxmlformats.org/officeDocument/2006/relationships/chart" Target="../charts/chart545.xml"/><Relationship Id="rId11" Type="http://schemas.openxmlformats.org/officeDocument/2006/relationships/chart" Target="../charts/chart546.xml"/><Relationship Id="rId12" Type="http://schemas.openxmlformats.org/officeDocument/2006/relationships/chart" Target="../charts/chart547.xml"/><Relationship Id="rId13" Type="http://schemas.openxmlformats.org/officeDocument/2006/relationships/chart" Target="../charts/chart548.xml"/><Relationship Id="rId14" Type="http://schemas.openxmlformats.org/officeDocument/2006/relationships/chart" Target="../charts/chart549.xml"/><Relationship Id="rId15" Type="http://schemas.openxmlformats.org/officeDocument/2006/relationships/chart" Target="../charts/chart550.xml"/><Relationship Id="rId16" Type="http://schemas.openxmlformats.org/officeDocument/2006/relationships/chart" Target="../charts/chart551.xml"/><Relationship Id="rId17" Type="http://schemas.openxmlformats.org/officeDocument/2006/relationships/chart" Target="../charts/chart55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 Id="rId14" Type="http://schemas.openxmlformats.org/officeDocument/2006/relationships/chart" Target="../charts/chart561.xml"/><Relationship Id="rId15" Type="http://schemas.openxmlformats.org/officeDocument/2006/relationships/chart" Target="../charts/chart562.xml"/><Relationship Id="rId16" Type="http://schemas.openxmlformats.org/officeDocument/2006/relationships/chart" Target="../charts/chart563.xml"/><Relationship Id="rId17" Type="http://schemas.openxmlformats.org/officeDocument/2006/relationships/chart" Target="../charts/chart56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 Id="rId7" Type="http://schemas.openxmlformats.org/officeDocument/2006/relationships/chart" Target="../charts/chart566.xml"/><Relationship Id="rId8" Type="http://schemas.openxmlformats.org/officeDocument/2006/relationships/chart" Target="../charts/chart567.xml"/><Relationship Id="rId9" Type="http://schemas.openxmlformats.org/officeDocument/2006/relationships/chart" Target="../charts/chart568.xml"/><Relationship Id="rId10" Type="http://schemas.openxmlformats.org/officeDocument/2006/relationships/chart" Target="../charts/chart569.xml"/><Relationship Id="rId11" Type="http://schemas.openxmlformats.org/officeDocument/2006/relationships/chart" Target="../charts/chart570.xml"/><Relationship Id="rId12" Type="http://schemas.openxmlformats.org/officeDocument/2006/relationships/chart" Target="../charts/chart571.xml"/><Relationship Id="rId13" Type="http://schemas.openxmlformats.org/officeDocument/2006/relationships/chart" Target="../charts/chart572.xml"/><Relationship Id="rId14" Type="http://schemas.openxmlformats.org/officeDocument/2006/relationships/chart" Target="../charts/chart573.xml"/><Relationship Id="rId15" Type="http://schemas.openxmlformats.org/officeDocument/2006/relationships/chart" Target="../charts/chart574.xml"/><Relationship Id="rId16" Type="http://schemas.openxmlformats.org/officeDocument/2006/relationships/chart" Target="../charts/chart575.xml"/><Relationship Id="rId17" Type="http://schemas.openxmlformats.org/officeDocument/2006/relationships/chart" Target="../charts/chart576.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7.xml"/><Relationship Id="rId7" Type="http://schemas.openxmlformats.org/officeDocument/2006/relationships/chart" Target="../charts/chart578.xml"/><Relationship Id="rId8" Type="http://schemas.openxmlformats.org/officeDocument/2006/relationships/chart" Target="../charts/chart579.xml"/><Relationship Id="rId9" Type="http://schemas.openxmlformats.org/officeDocument/2006/relationships/chart" Target="../charts/chart580.xml"/><Relationship Id="rId10" Type="http://schemas.openxmlformats.org/officeDocument/2006/relationships/chart" Target="../charts/chart581.xml"/><Relationship Id="rId11" Type="http://schemas.openxmlformats.org/officeDocument/2006/relationships/chart" Target="../charts/chart582.xml"/><Relationship Id="rId12" Type="http://schemas.openxmlformats.org/officeDocument/2006/relationships/chart" Target="../charts/chart583.xml"/><Relationship Id="rId13" Type="http://schemas.openxmlformats.org/officeDocument/2006/relationships/chart" Target="../charts/chart584.xml"/><Relationship Id="rId14" Type="http://schemas.openxmlformats.org/officeDocument/2006/relationships/chart" Target="../charts/chart585.xml"/><Relationship Id="rId15" Type="http://schemas.openxmlformats.org/officeDocument/2006/relationships/chart" Target="../charts/chart586.xml"/><Relationship Id="rId16" Type="http://schemas.openxmlformats.org/officeDocument/2006/relationships/chart" Target="../charts/chart587.xml"/><Relationship Id="rId17" Type="http://schemas.openxmlformats.org/officeDocument/2006/relationships/chart" Target="../charts/chart58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9.xml"/><Relationship Id="rId7" Type="http://schemas.openxmlformats.org/officeDocument/2006/relationships/chart" Target="../charts/chart590.xml"/><Relationship Id="rId8" Type="http://schemas.openxmlformats.org/officeDocument/2006/relationships/chart" Target="../charts/chart591.xml"/><Relationship Id="rId9" Type="http://schemas.openxmlformats.org/officeDocument/2006/relationships/chart" Target="../charts/chart592.xml"/><Relationship Id="rId10" Type="http://schemas.openxmlformats.org/officeDocument/2006/relationships/chart" Target="../charts/chart593.xml"/><Relationship Id="rId11" Type="http://schemas.openxmlformats.org/officeDocument/2006/relationships/chart" Target="../charts/chart594.xml"/><Relationship Id="rId12" Type="http://schemas.openxmlformats.org/officeDocument/2006/relationships/chart" Target="../charts/chart595.xml"/><Relationship Id="rId13" Type="http://schemas.openxmlformats.org/officeDocument/2006/relationships/chart" Target="../charts/chart596.xml"/><Relationship Id="rId14" Type="http://schemas.openxmlformats.org/officeDocument/2006/relationships/chart" Target="../charts/chart597.xml"/><Relationship Id="rId15" Type="http://schemas.openxmlformats.org/officeDocument/2006/relationships/chart" Target="../charts/chart598.xml"/><Relationship Id="rId16" Type="http://schemas.openxmlformats.org/officeDocument/2006/relationships/chart" Target="../charts/chart599.xml"/><Relationship Id="rId17" Type="http://schemas.openxmlformats.org/officeDocument/2006/relationships/chart" Target="../charts/chart60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1.xml"/><Relationship Id="rId7" Type="http://schemas.openxmlformats.org/officeDocument/2006/relationships/chart" Target="../charts/chart602.xml"/><Relationship Id="rId8" Type="http://schemas.openxmlformats.org/officeDocument/2006/relationships/chart" Target="../charts/chart603.xml"/><Relationship Id="rId9" Type="http://schemas.openxmlformats.org/officeDocument/2006/relationships/chart" Target="../charts/chart604.xml"/><Relationship Id="rId10" Type="http://schemas.openxmlformats.org/officeDocument/2006/relationships/chart" Target="../charts/chart605.xml"/><Relationship Id="rId11" Type="http://schemas.openxmlformats.org/officeDocument/2006/relationships/chart" Target="../charts/chart606.xml"/><Relationship Id="rId12" Type="http://schemas.openxmlformats.org/officeDocument/2006/relationships/chart" Target="../charts/chart607.xml"/><Relationship Id="rId13" Type="http://schemas.openxmlformats.org/officeDocument/2006/relationships/chart" Target="../charts/chart608.xml"/><Relationship Id="rId14" Type="http://schemas.openxmlformats.org/officeDocument/2006/relationships/chart" Target="../charts/chart609.xml"/><Relationship Id="rId15" Type="http://schemas.openxmlformats.org/officeDocument/2006/relationships/chart" Target="../charts/chart610.xml"/><Relationship Id="rId16" Type="http://schemas.openxmlformats.org/officeDocument/2006/relationships/chart" Target="../charts/chart611.xml"/><Relationship Id="rId17" Type="http://schemas.openxmlformats.org/officeDocument/2006/relationships/chart" Target="../charts/chart612.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3.xml"/><Relationship Id="rId7" Type="http://schemas.openxmlformats.org/officeDocument/2006/relationships/chart" Target="../charts/chart614.xml"/><Relationship Id="rId8" Type="http://schemas.openxmlformats.org/officeDocument/2006/relationships/chart" Target="../charts/chart615.xml"/><Relationship Id="rId9" Type="http://schemas.openxmlformats.org/officeDocument/2006/relationships/chart" Target="../charts/chart616.xml"/><Relationship Id="rId10" Type="http://schemas.openxmlformats.org/officeDocument/2006/relationships/chart" Target="../charts/chart617.xml"/><Relationship Id="rId11" Type="http://schemas.openxmlformats.org/officeDocument/2006/relationships/chart" Target="../charts/chart618.xml"/><Relationship Id="rId12" Type="http://schemas.openxmlformats.org/officeDocument/2006/relationships/chart" Target="../charts/chart619.xml"/><Relationship Id="rId13" Type="http://schemas.openxmlformats.org/officeDocument/2006/relationships/chart" Target="../charts/chart620.xml"/><Relationship Id="rId14" Type="http://schemas.openxmlformats.org/officeDocument/2006/relationships/chart" Target="../charts/chart621.xml"/><Relationship Id="rId15" Type="http://schemas.openxmlformats.org/officeDocument/2006/relationships/chart" Target="../charts/chart622.xml"/><Relationship Id="rId16" Type="http://schemas.openxmlformats.org/officeDocument/2006/relationships/chart" Target="../charts/chart623.xml"/><Relationship Id="rId17" Type="http://schemas.openxmlformats.org/officeDocument/2006/relationships/chart" Target="../charts/chart624.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5.xml"/><Relationship Id="rId7" Type="http://schemas.openxmlformats.org/officeDocument/2006/relationships/chart" Target="../charts/chart626.xml"/><Relationship Id="rId8" Type="http://schemas.openxmlformats.org/officeDocument/2006/relationships/chart" Target="../charts/chart627.xml"/><Relationship Id="rId9" Type="http://schemas.openxmlformats.org/officeDocument/2006/relationships/chart" Target="../charts/chart628.xml"/><Relationship Id="rId10" Type="http://schemas.openxmlformats.org/officeDocument/2006/relationships/chart" Target="../charts/chart629.xml"/><Relationship Id="rId11" Type="http://schemas.openxmlformats.org/officeDocument/2006/relationships/chart" Target="../charts/chart630.xml"/><Relationship Id="rId12" Type="http://schemas.openxmlformats.org/officeDocument/2006/relationships/chart" Target="../charts/chart631.xml"/><Relationship Id="rId13" Type="http://schemas.openxmlformats.org/officeDocument/2006/relationships/chart" Target="../charts/chart632.xml"/><Relationship Id="rId14" Type="http://schemas.openxmlformats.org/officeDocument/2006/relationships/chart" Target="../charts/chart633.xml"/><Relationship Id="rId15" Type="http://schemas.openxmlformats.org/officeDocument/2006/relationships/chart" Target="../charts/chart634.xml"/><Relationship Id="rId16" Type="http://schemas.openxmlformats.org/officeDocument/2006/relationships/chart" Target="../charts/chart635.xml"/><Relationship Id="rId17" Type="http://schemas.openxmlformats.org/officeDocument/2006/relationships/chart" Target="../charts/chart636.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7.xml"/><Relationship Id="rId7" Type="http://schemas.openxmlformats.org/officeDocument/2006/relationships/chart" Target="../charts/chart638.xml"/><Relationship Id="rId8" Type="http://schemas.openxmlformats.org/officeDocument/2006/relationships/chart" Target="../charts/chart639.xml"/><Relationship Id="rId9" Type="http://schemas.openxmlformats.org/officeDocument/2006/relationships/chart" Target="../charts/chart640.xml"/><Relationship Id="rId10" Type="http://schemas.openxmlformats.org/officeDocument/2006/relationships/chart" Target="../charts/chart641.xml"/><Relationship Id="rId11" Type="http://schemas.openxmlformats.org/officeDocument/2006/relationships/chart" Target="../charts/chart642.xml"/><Relationship Id="rId12" Type="http://schemas.openxmlformats.org/officeDocument/2006/relationships/chart" Target="../charts/chart643.xml"/><Relationship Id="rId13" Type="http://schemas.openxmlformats.org/officeDocument/2006/relationships/chart" Target="../charts/chart644.xml"/><Relationship Id="rId14" Type="http://schemas.openxmlformats.org/officeDocument/2006/relationships/chart" Target="../charts/chart645.xml"/><Relationship Id="rId15" Type="http://schemas.openxmlformats.org/officeDocument/2006/relationships/chart" Target="../charts/chart646.xml"/><Relationship Id="rId16" Type="http://schemas.openxmlformats.org/officeDocument/2006/relationships/chart" Target="../charts/chart647.xml"/><Relationship Id="rId17" Type="http://schemas.openxmlformats.org/officeDocument/2006/relationships/chart" Target="../charts/chart648.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176277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957431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514175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061659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76174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229540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459163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525619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316384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5992201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311371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865086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037710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999434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353053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94397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212697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333542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256230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741788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243887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524823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503195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57800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983724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765238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681156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590352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798664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271355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781384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826349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72121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641386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093659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652509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828133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548806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6278476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671919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243602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698677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649336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576311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134751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337962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122817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200623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404888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370272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948101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254823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793655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442345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7506</Words>
  <Application>Microsoft Office PowerPoint</Application>
  <PresentationFormat>On-screen Show (16:9)</PresentationFormat>
  <Paragraphs>2268</Paragraphs>
  <Slides>54</Slides>
  <Notes>5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65"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3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